
<file path=[Content_Types].xml><?xml version="1.0" encoding="utf-8"?>
<Types xmlns="http://schemas.openxmlformats.org/package/2006/content-types"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notesSlides/notesSlide2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2.xml" ContentType="application/vnd.openxmlformats-officedocument.presentationml.tags+xml"/>
  <Override PartName="/ppt/notesSlides/notesSlide3.xml" ContentType="application/vnd.openxmlformats-officedocument.presentationml.notesSlide+xml"/>
  <Override PartName="/ppt/comments/comment1.xml" ContentType="application/vnd.openxmlformats-officedocument.presentationml.comments+xml"/>
  <Override PartName="/ppt/tags/tag3.xml" ContentType="application/vnd.openxmlformats-officedocument.presentationml.tags+xml"/>
  <Override PartName="/ppt/notesSlides/notesSlide4.xml" ContentType="application/vnd.openxmlformats-officedocument.presentationml.notesSlide+xml"/>
  <Override PartName="/ppt/tags/tag4.xml" ContentType="application/vnd.openxmlformats-officedocument.presentationml.tags+xml"/>
  <Override PartName="/ppt/notesSlides/notesSlide5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tags/tag5.xml" ContentType="application/vnd.openxmlformats-officedocument.presentationml.tags+xml"/>
  <Override PartName="/ppt/notesSlides/notesSlide6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72" r:id="rId2"/>
    <p:sldMasterId id="2147483684" r:id="rId3"/>
  </p:sldMasterIdLst>
  <p:notesMasterIdLst>
    <p:notesMasterId r:id="rId46"/>
  </p:notesMasterIdLst>
  <p:sldIdLst>
    <p:sldId id="256" r:id="rId4"/>
    <p:sldId id="276" r:id="rId5"/>
    <p:sldId id="751" r:id="rId6"/>
    <p:sldId id="867" r:id="rId7"/>
    <p:sldId id="868" r:id="rId8"/>
    <p:sldId id="872" r:id="rId9"/>
    <p:sldId id="869" r:id="rId10"/>
    <p:sldId id="870" r:id="rId11"/>
    <p:sldId id="875" r:id="rId12"/>
    <p:sldId id="874" r:id="rId13"/>
    <p:sldId id="876" r:id="rId14"/>
    <p:sldId id="881" r:id="rId15"/>
    <p:sldId id="882" r:id="rId16"/>
    <p:sldId id="883" r:id="rId17"/>
    <p:sldId id="884" r:id="rId18"/>
    <p:sldId id="885" r:id="rId19"/>
    <p:sldId id="886" r:id="rId20"/>
    <p:sldId id="888" r:id="rId21"/>
    <p:sldId id="887" r:id="rId22"/>
    <p:sldId id="889" r:id="rId23"/>
    <p:sldId id="890" r:id="rId24"/>
    <p:sldId id="896" r:id="rId25"/>
    <p:sldId id="895" r:id="rId26"/>
    <p:sldId id="892" r:id="rId27"/>
    <p:sldId id="891" r:id="rId28"/>
    <p:sldId id="893" r:id="rId29"/>
    <p:sldId id="897" r:id="rId30"/>
    <p:sldId id="899" r:id="rId31"/>
    <p:sldId id="898" r:id="rId32"/>
    <p:sldId id="901" r:id="rId33"/>
    <p:sldId id="902" r:id="rId34"/>
    <p:sldId id="904" r:id="rId35"/>
    <p:sldId id="903" r:id="rId36"/>
    <p:sldId id="907" r:id="rId37"/>
    <p:sldId id="908" r:id="rId38"/>
    <p:sldId id="909" r:id="rId39"/>
    <p:sldId id="910" r:id="rId40"/>
    <p:sldId id="905" r:id="rId41"/>
    <p:sldId id="338" r:id="rId42"/>
    <p:sldId id="342" r:id="rId43"/>
    <p:sldId id="906" r:id="rId44"/>
    <p:sldId id="839" r:id="rId45"/>
  </p:sldIdLst>
  <p:sldSz cx="12192000" cy="6858000"/>
  <p:notesSz cx="6858000" cy="9144000"/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cegidadmin" initials="c" lastIdx="1" clrIdx="0">
    <p:extLst>
      <p:ext uri="{19B8F6BF-5375-455C-9EA6-DF929625EA0E}">
        <p15:presenceInfo xmlns:p15="http://schemas.microsoft.com/office/powerpoint/2012/main" userId="cegidadmin" providerId="None"/>
      </p:ext>
    </p:extLst>
  </p:cmAuthor>
  <p:cmAuthor id="2" name="christophe CHUECOS-FONT" initials="cCF" lastIdx="2" clrIdx="1">
    <p:extLst>
      <p:ext uri="{19B8F6BF-5375-455C-9EA6-DF929625EA0E}">
        <p15:presenceInfo xmlns:p15="http://schemas.microsoft.com/office/powerpoint/2012/main" userId="christophe CHUECOS-FONT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C2BEBF3A-ECBA-4860-AC25-66AB61261A96}" v="193" dt="2021-03-18T23:41:48.405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012ECD-51FC-41F1-AA8D-1B2483CD663E}" styleName="Style léger 2 - Accentuation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8281" autoAdjust="0"/>
    <p:restoredTop sz="94660"/>
  </p:normalViewPr>
  <p:slideViewPr>
    <p:cSldViewPr snapToGrid="0">
      <p:cViewPr varScale="1">
        <p:scale>
          <a:sx n="114" d="100"/>
          <a:sy n="114" d="100"/>
        </p:scale>
        <p:origin x="282" y="10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26" Type="http://schemas.openxmlformats.org/officeDocument/2006/relationships/slide" Target="slides/slide23.xml"/><Relationship Id="rId39" Type="http://schemas.openxmlformats.org/officeDocument/2006/relationships/slide" Target="slides/slide36.xml"/><Relationship Id="rId21" Type="http://schemas.openxmlformats.org/officeDocument/2006/relationships/slide" Target="slides/slide18.xml"/><Relationship Id="rId34" Type="http://schemas.openxmlformats.org/officeDocument/2006/relationships/slide" Target="slides/slide31.xml"/><Relationship Id="rId42" Type="http://schemas.openxmlformats.org/officeDocument/2006/relationships/slide" Target="slides/slide39.xml"/><Relationship Id="rId47" Type="http://schemas.openxmlformats.org/officeDocument/2006/relationships/commentAuthors" Target="commentAuthors.xml"/><Relationship Id="rId50" Type="http://schemas.openxmlformats.org/officeDocument/2006/relationships/theme" Target="theme/theme1.xml"/><Relationship Id="rId7" Type="http://schemas.openxmlformats.org/officeDocument/2006/relationships/slide" Target="slides/slide4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9" Type="http://schemas.openxmlformats.org/officeDocument/2006/relationships/slide" Target="slides/slide26.xml"/><Relationship Id="rId11" Type="http://schemas.openxmlformats.org/officeDocument/2006/relationships/slide" Target="slides/slide8.xml"/><Relationship Id="rId24" Type="http://schemas.openxmlformats.org/officeDocument/2006/relationships/slide" Target="slides/slide21.xml"/><Relationship Id="rId32" Type="http://schemas.openxmlformats.org/officeDocument/2006/relationships/slide" Target="slides/slide29.xml"/><Relationship Id="rId37" Type="http://schemas.openxmlformats.org/officeDocument/2006/relationships/slide" Target="slides/slide34.xml"/><Relationship Id="rId40" Type="http://schemas.openxmlformats.org/officeDocument/2006/relationships/slide" Target="slides/slide37.xml"/><Relationship Id="rId45" Type="http://schemas.openxmlformats.org/officeDocument/2006/relationships/slide" Target="slides/slide42.xml"/><Relationship Id="rId53" Type="http://schemas.microsoft.com/office/2015/10/relationships/revisionInfo" Target="revisionInfo.xml"/><Relationship Id="rId5" Type="http://schemas.openxmlformats.org/officeDocument/2006/relationships/slide" Target="slides/slide2.xml"/><Relationship Id="rId10" Type="http://schemas.openxmlformats.org/officeDocument/2006/relationships/slide" Target="slides/slide7.xml"/><Relationship Id="rId19" Type="http://schemas.openxmlformats.org/officeDocument/2006/relationships/slide" Target="slides/slide16.xml"/><Relationship Id="rId31" Type="http://schemas.openxmlformats.org/officeDocument/2006/relationships/slide" Target="slides/slide28.xml"/><Relationship Id="rId44" Type="http://schemas.openxmlformats.org/officeDocument/2006/relationships/slide" Target="slides/slide41.xml"/><Relationship Id="rId52" Type="http://schemas.microsoft.com/office/2016/11/relationships/changesInfo" Target="changesInfos/changesInfo1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slide" Target="slides/slide19.xml"/><Relationship Id="rId27" Type="http://schemas.openxmlformats.org/officeDocument/2006/relationships/slide" Target="slides/slide24.xml"/><Relationship Id="rId30" Type="http://schemas.openxmlformats.org/officeDocument/2006/relationships/slide" Target="slides/slide27.xml"/><Relationship Id="rId35" Type="http://schemas.openxmlformats.org/officeDocument/2006/relationships/slide" Target="slides/slide32.xml"/><Relationship Id="rId43" Type="http://schemas.openxmlformats.org/officeDocument/2006/relationships/slide" Target="slides/slide40.xml"/><Relationship Id="rId48" Type="http://schemas.openxmlformats.org/officeDocument/2006/relationships/presProps" Target="presProps.xml"/><Relationship Id="rId8" Type="http://schemas.openxmlformats.org/officeDocument/2006/relationships/slide" Target="slides/slide5.xml"/><Relationship Id="rId51" Type="http://schemas.openxmlformats.org/officeDocument/2006/relationships/tableStyles" Target="tableStyles.xml"/><Relationship Id="rId3" Type="http://schemas.openxmlformats.org/officeDocument/2006/relationships/slideMaster" Target="slideMasters/slideMaster3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slide" Target="slides/slide22.xml"/><Relationship Id="rId33" Type="http://schemas.openxmlformats.org/officeDocument/2006/relationships/slide" Target="slides/slide30.xml"/><Relationship Id="rId38" Type="http://schemas.openxmlformats.org/officeDocument/2006/relationships/slide" Target="slides/slide35.xml"/><Relationship Id="rId46" Type="http://schemas.openxmlformats.org/officeDocument/2006/relationships/notesMaster" Target="notesMasters/notesMaster1.xml"/><Relationship Id="rId20" Type="http://schemas.openxmlformats.org/officeDocument/2006/relationships/slide" Target="slides/slide17.xml"/><Relationship Id="rId41" Type="http://schemas.openxmlformats.org/officeDocument/2006/relationships/slide" Target="slides/slide3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5" Type="http://schemas.openxmlformats.org/officeDocument/2006/relationships/slide" Target="slides/slide12.xml"/><Relationship Id="rId23" Type="http://schemas.openxmlformats.org/officeDocument/2006/relationships/slide" Target="slides/slide20.xml"/><Relationship Id="rId28" Type="http://schemas.openxmlformats.org/officeDocument/2006/relationships/slide" Target="slides/slide25.xml"/><Relationship Id="rId36" Type="http://schemas.openxmlformats.org/officeDocument/2006/relationships/slide" Target="slides/slide33.xml"/><Relationship Id="rId49" Type="http://schemas.openxmlformats.org/officeDocument/2006/relationships/viewProps" Target="view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christophe CHUECOS-FONT" userId="7e57acaa-4bc6-4644-8edc-0ecdded28594" providerId="ADAL" clId="{C2BEBF3A-ECBA-4860-AC25-66AB61261A96}"/>
    <pc:docChg chg="undo custSel addSld delSld modSld sldOrd">
      <pc:chgData name="christophe CHUECOS-FONT" userId="7e57acaa-4bc6-4644-8edc-0ecdded28594" providerId="ADAL" clId="{C2BEBF3A-ECBA-4860-AC25-66AB61261A96}" dt="2021-03-26T12:12:53.109" v="1754" actId="27636"/>
      <pc:docMkLst>
        <pc:docMk/>
      </pc:docMkLst>
      <pc:sldChg chg="modSp mod">
        <pc:chgData name="christophe CHUECOS-FONT" userId="7e57acaa-4bc6-4644-8edc-0ecdded28594" providerId="ADAL" clId="{C2BEBF3A-ECBA-4860-AC25-66AB61261A96}" dt="2021-03-26T12:12:53.109" v="1754" actId="27636"/>
        <pc:sldMkLst>
          <pc:docMk/>
          <pc:sldMk cId="3848639155" sldId="256"/>
        </pc:sldMkLst>
        <pc:spChg chg="mod">
          <ac:chgData name="christophe CHUECOS-FONT" userId="7e57acaa-4bc6-4644-8edc-0ecdded28594" providerId="ADAL" clId="{C2BEBF3A-ECBA-4860-AC25-66AB61261A96}" dt="2021-03-26T12:12:53.109" v="1754" actId="27636"/>
          <ac:spMkLst>
            <pc:docMk/>
            <pc:sldMk cId="3848639155" sldId="256"/>
            <ac:spMk id="3" creationId="{21349F9F-31B4-41DC-B4DB-C097467B5266}"/>
          </ac:spMkLst>
        </pc:spChg>
      </pc:sldChg>
      <pc:sldChg chg="del">
        <pc:chgData name="christophe CHUECOS-FONT" userId="7e57acaa-4bc6-4644-8edc-0ecdded28594" providerId="ADAL" clId="{C2BEBF3A-ECBA-4860-AC25-66AB61261A96}" dt="2021-03-18T21:54:05.128" v="0" actId="47"/>
        <pc:sldMkLst>
          <pc:docMk/>
          <pc:sldMk cId="2831747057" sldId="258"/>
        </pc:sldMkLst>
      </pc:sldChg>
      <pc:sldChg chg="del">
        <pc:chgData name="christophe CHUECOS-FONT" userId="7e57acaa-4bc6-4644-8edc-0ecdded28594" providerId="ADAL" clId="{C2BEBF3A-ECBA-4860-AC25-66AB61261A96}" dt="2021-03-18T21:54:05.128" v="0" actId="47"/>
        <pc:sldMkLst>
          <pc:docMk/>
          <pc:sldMk cId="2174517492" sldId="259"/>
        </pc:sldMkLst>
      </pc:sldChg>
      <pc:sldChg chg="del">
        <pc:chgData name="christophe CHUECOS-FONT" userId="7e57acaa-4bc6-4644-8edc-0ecdded28594" providerId="ADAL" clId="{C2BEBF3A-ECBA-4860-AC25-66AB61261A96}" dt="2021-03-18T21:54:05.128" v="0" actId="47"/>
        <pc:sldMkLst>
          <pc:docMk/>
          <pc:sldMk cId="3018494457" sldId="266"/>
        </pc:sldMkLst>
      </pc:sldChg>
      <pc:sldChg chg="del">
        <pc:chgData name="christophe CHUECOS-FONT" userId="7e57acaa-4bc6-4644-8edc-0ecdded28594" providerId="ADAL" clId="{C2BEBF3A-ECBA-4860-AC25-66AB61261A96}" dt="2021-03-18T21:54:05.128" v="0" actId="47"/>
        <pc:sldMkLst>
          <pc:docMk/>
          <pc:sldMk cId="1765093222" sldId="267"/>
        </pc:sldMkLst>
      </pc:sldChg>
      <pc:sldChg chg="del">
        <pc:chgData name="christophe CHUECOS-FONT" userId="7e57acaa-4bc6-4644-8edc-0ecdded28594" providerId="ADAL" clId="{C2BEBF3A-ECBA-4860-AC25-66AB61261A96}" dt="2021-03-18T21:54:05.128" v="0" actId="47"/>
        <pc:sldMkLst>
          <pc:docMk/>
          <pc:sldMk cId="1677432768" sldId="297"/>
        </pc:sldMkLst>
      </pc:sldChg>
      <pc:sldChg chg="del">
        <pc:chgData name="christophe CHUECOS-FONT" userId="7e57acaa-4bc6-4644-8edc-0ecdded28594" providerId="ADAL" clId="{C2BEBF3A-ECBA-4860-AC25-66AB61261A96}" dt="2021-03-18T21:54:05.128" v="0" actId="47"/>
        <pc:sldMkLst>
          <pc:docMk/>
          <pc:sldMk cId="130980171" sldId="299"/>
        </pc:sldMkLst>
      </pc:sldChg>
      <pc:sldChg chg="del">
        <pc:chgData name="christophe CHUECOS-FONT" userId="7e57acaa-4bc6-4644-8edc-0ecdded28594" providerId="ADAL" clId="{C2BEBF3A-ECBA-4860-AC25-66AB61261A96}" dt="2021-03-18T21:54:05.128" v="0" actId="47"/>
        <pc:sldMkLst>
          <pc:docMk/>
          <pc:sldMk cId="2049130264" sldId="300"/>
        </pc:sldMkLst>
      </pc:sldChg>
      <pc:sldChg chg="del">
        <pc:chgData name="christophe CHUECOS-FONT" userId="7e57acaa-4bc6-4644-8edc-0ecdded28594" providerId="ADAL" clId="{C2BEBF3A-ECBA-4860-AC25-66AB61261A96}" dt="2021-03-18T21:54:05.128" v="0" actId="47"/>
        <pc:sldMkLst>
          <pc:docMk/>
          <pc:sldMk cId="3173007657" sldId="301"/>
        </pc:sldMkLst>
      </pc:sldChg>
      <pc:sldChg chg="del">
        <pc:chgData name="christophe CHUECOS-FONT" userId="7e57acaa-4bc6-4644-8edc-0ecdded28594" providerId="ADAL" clId="{C2BEBF3A-ECBA-4860-AC25-66AB61261A96}" dt="2021-03-18T21:54:05.128" v="0" actId="47"/>
        <pc:sldMkLst>
          <pc:docMk/>
          <pc:sldMk cId="1804052538" sldId="302"/>
        </pc:sldMkLst>
      </pc:sldChg>
      <pc:sldChg chg="del">
        <pc:chgData name="christophe CHUECOS-FONT" userId="7e57acaa-4bc6-4644-8edc-0ecdded28594" providerId="ADAL" clId="{C2BEBF3A-ECBA-4860-AC25-66AB61261A96}" dt="2021-03-18T21:54:05.128" v="0" actId="47"/>
        <pc:sldMkLst>
          <pc:docMk/>
          <pc:sldMk cId="2883904425" sldId="309"/>
        </pc:sldMkLst>
      </pc:sldChg>
      <pc:sldChg chg="del">
        <pc:chgData name="christophe CHUECOS-FONT" userId="7e57acaa-4bc6-4644-8edc-0ecdded28594" providerId="ADAL" clId="{C2BEBF3A-ECBA-4860-AC25-66AB61261A96}" dt="2021-03-18T22:22:38.942" v="258" actId="47"/>
        <pc:sldMkLst>
          <pc:docMk/>
          <pc:sldMk cId="1655996761" sldId="317"/>
        </pc:sldMkLst>
      </pc:sldChg>
      <pc:sldChg chg="add">
        <pc:chgData name="christophe CHUECOS-FONT" userId="7e57acaa-4bc6-4644-8edc-0ecdded28594" providerId="ADAL" clId="{C2BEBF3A-ECBA-4860-AC25-66AB61261A96}" dt="2021-03-18T22:54:09.324" v="856"/>
        <pc:sldMkLst>
          <pc:docMk/>
          <pc:sldMk cId="1271957293" sldId="338"/>
        </pc:sldMkLst>
      </pc:sldChg>
      <pc:sldChg chg="add">
        <pc:chgData name="christophe CHUECOS-FONT" userId="7e57acaa-4bc6-4644-8edc-0ecdded28594" providerId="ADAL" clId="{C2BEBF3A-ECBA-4860-AC25-66AB61261A96}" dt="2021-03-18T22:54:09.324" v="856"/>
        <pc:sldMkLst>
          <pc:docMk/>
          <pc:sldMk cId="2720677423" sldId="342"/>
        </pc:sldMkLst>
      </pc:sldChg>
      <pc:sldChg chg="del">
        <pc:chgData name="christophe CHUECOS-FONT" userId="7e57acaa-4bc6-4644-8edc-0ecdded28594" providerId="ADAL" clId="{C2BEBF3A-ECBA-4860-AC25-66AB61261A96}" dt="2021-03-18T21:54:05.128" v="0" actId="47"/>
        <pc:sldMkLst>
          <pc:docMk/>
          <pc:sldMk cId="649958680" sldId="672"/>
        </pc:sldMkLst>
      </pc:sldChg>
      <pc:sldChg chg="del">
        <pc:chgData name="christophe CHUECOS-FONT" userId="7e57acaa-4bc6-4644-8edc-0ecdded28594" providerId="ADAL" clId="{C2BEBF3A-ECBA-4860-AC25-66AB61261A96}" dt="2021-03-18T22:22:38.942" v="258" actId="47"/>
        <pc:sldMkLst>
          <pc:docMk/>
          <pc:sldMk cId="3843576302" sldId="677"/>
        </pc:sldMkLst>
      </pc:sldChg>
      <pc:sldChg chg="del">
        <pc:chgData name="christophe CHUECOS-FONT" userId="7e57acaa-4bc6-4644-8edc-0ecdded28594" providerId="ADAL" clId="{C2BEBF3A-ECBA-4860-AC25-66AB61261A96}" dt="2021-03-18T22:22:38.942" v="258" actId="47"/>
        <pc:sldMkLst>
          <pc:docMk/>
          <pc:sldMk cId="3945995144" sldId="779"/>
        </pc:sldMkLst>
      </pc:sldChg>
      <pc:sldChg chg="del">
        <pc:chgData name="christophe CHUECOS-FONT" userId="7e57acaa-4bc6-4644-8edc-0ecdded28594" providerId="ADAL" clId="{C2BEBF3A-ECBA-4860-AC25-66AB61261A96}" dt="2021-03-18T21:54:05.128" v="0" actId="47"/>
        <pc:sldMkLst>
          <pc:docMk/>
          <pc:sldMk cId="2909694736" sldId="802"/>
        </pc:sldMkLst>
      </pc:sldChg>
      <pc:sldChg chg="del">
        <pc:chgData name="christophe CHUECOS-FONT" userId="7e57acaa-4bc6-4644-8edc-0ecdded28594" providerId="ADAL" clId="{C2BEBF3A-ECBA-4860-AC25-66AB61261A96}" dt="2021-03-18T21:54:39.040" v="1" actId="47"/>
        <pc:sldMkLst>
          <pc:docMk/>
          <pc:sldMk cId="2502557485" sldId="803"/>
        </pc:sldMkLst>
      </pc:sldChg>
      <pc:sldChg chg="del">
        <pc:chgData name="christophe CHUECOS-FONT" userId="7e57acaa-4bc6-4644-8edc-0ecdded28594" providerId="ADAL" clId="{C2BEBF3A-ECBA-4860-AC25-66AB61261A96}" dt="2021-03-18T21:54:39.040" v="1" actId="47"/>
        <pc:sldMkLst>
          <pc:docMk/>
          <pc:sldMk cId="3840082568" sldId="820"/>
        </pc:sldMkLst>
      </pc:sldChg>
      <pc:sldChg chg="del">
        <pc:chgData name="christophe CHUECOS-FONT" userId="7e57acaa-4bc6-4644-8edc-0ecdded28594" providerId="ADAL" clId="{C2BEBF3A-ECBA-4860-AC25-66AB61261A96}" dt="2021-03-18T21:54:39.040" v="1" actId="47"/>
        <pc:sldMkLst>
          <pc:docMk/>
          <pc:sldMk cId="556005404" sldId="840"/>
        </pc:sldMkLst>
      </pc:sldChg>
      <pc:sldChg chg="del">
        <pc:chgData name="christophe CHUECOS-FONT" userId="7e57acaa-4bc6-4644-8edc-0ecdded28594" providerId="ADAL" clId="{C2BEBF3A-ECBA-4860-AC25-66AB61261A96}" dt="2021-03-18T22:22:38.942" v="258" actId="47"/>
        <pc:sldMkLst>
          <pc:docMk/>
          <pc:sldMk cId="2080613406" sldId="848"/>
        </pc:sldMkLst>
      </pc:sldChg>
      <pc:sldChg chg="del">
        <pc:chgData name="christophe CHUECOS-FONT" userId="7e57acaa-4bc6-4644-8edc-0ecdded28594" providerId="ADAL" clId="{C2BEBF3A-ECBA-4860-AC25-66AB61261A96}" dt="2021-03-18T22:22:38.942" v="258" actId="47"/>
        <pc:sldMkLst>
          <pc:docMk/>
          <pc:sldMk cId="2013905306" sldId="849"/>
        </pc:sldMkLst>
      </pc:sldChg>
      <pc:sldChg chg="del">
        <pc:chgData name="christophe CHUECOS-FONT" userId="7e57acaa-4bc6-4644-8edc-0ecdded28594" providerId="ADAL" clId="{C2BEBF3A-ECBA-4860-AC25-66AB61261A96}" dt="2021-03-18T22:22:38.942" v="258" actId="47"/>
        <pc:sldMkLst>
          <pc:docMk/>
          <pc:sldMk cId="2136421834" sldId="850"/>
        </pc:sldMkLst>
      </pc:sldChg>
      <pc:sldChg chg="del">
        <pc:chgData name="christophe CHUECOS-FONT" userId="7e57acaa-4bc6-4644-8edc-0ecdded28594" providerId="ADAL" clId="{C2BEBF3A-ECBA-4860-AC25-66AB61261A96}" dt="2021-03-18T22:22:38.942" v="258" actId="47"/>
        <pc:sldMkLst>
          <pc:docMk/>
          <pc:sldMk cId="1737365082" sldId="851"/>
        </pc:sldMkLst>
      </pc:sldChg>
      <pc:sldChg chg="del">
        <pc:chgData name="christophe CHUECOS-FONT" userId="7e57acaa-4bc6-4644-8edc-0ecdded28594" providerId="ADAL" clId="{C2BEBF3A-ECBA-4860-AC25-66AB61261A96}" dt="2021-03-18T21:54:39.040" v="1" actId="47"/>
        <pc:sldMkLst>
          <pc:docMk/>
          <pc:sldMk cId="363521892" sldId="852"/>
        </pc:sldMkLst>
      </pc:sldChg>
      <pc:sldChg chg="del">
        <pc:chgData name="christophe CHUECOS-FONT" userId="7e57acaa-4bc6-4644-8edc-0ecdded28594" providerId="ADAL" clId="{C2BEBF3A-ECBA-4860-AC25-66AB61261A96}" dt="2021-03-18T21:54:39.040" v="1" actId="47"/>
        <pc:sldMkLst>
          <pc:docMk/>
          <pc:sldMk cId="3501519798" sldId="853"/>
        </pc:sldMkLst>
      </pc:sldChg>
      <pc:sldChg chg="del">
        <pc:chgData name="christophe CHUECOS-FONT" userId="7e57acaa-4bc6-4644-8edc-0ecdded28594" providerId="ADAL" clId="{C2BEBF3A-ECBA-4860-AC25-66AB61261A96}" dt="2021-03-18T21:54:05.128" v="0" actId="47"/>
        <pc:sldMkLst>
          <pc:docMk/>
          <pc:sldMk cId="500929375" sldId="854"/>
        </pc:sldMkLst>
      </pc:sldChg>
      <pc:sldChg chg="del">
        <pc:chgData name="christophe CHUECOS-FONT" userId="7e57acaa-4bc6-4644-8edc-0ecdded28594" providerId="ADAL" clId="{C2BEBF3A-ECBA-4860-AC25-66AB61261A96}" dt="2021-03-18T22:22:38.942" v="258" actId="47"/>
        <pc:sldMkLst>
          <pc:docMk/>
          <pc:sldMk cId="502558103" sldId="855"/>
        </pc:sldMkLst>
      </pc:sldChg>
      <pc:sldChg chg="del">
        <pc:chgData name="christophe CHUECOS-FONT" userId="7e57acaa-4bc6-4644-8edc-0ecdded28594" providerId="ADAL" clId="{C2BEBF3A-ECBA-4860-AC25-66AB61261A96}" dt="2021-03-18T22:22:38.942" v="258" actId="47"/>
        <pc:sldMkLst>
          <pc:docMk/>
          <pc:sldMk cId="4231120075" sldId="856"/>
        </pc:sldMkLst>
      </pc:sldChg>
      <pc:sldChg chg="del">
        <pc:chgData name="christophe CHUECOS-FONT" userId="7e57acaa-4bc6-4644-8edc-0ecdded28594" providerId="ADAL" clId="{C2BEBF3A-ECBA-4860-AC25-66AB61261A96}" dt="2021-03-18T22:22:38.942" v="258" actId="47"/>
        <pc:sldMkLst>
          <pc:docMk/>
          <pc:sldMk cId="981759289" sldId="857"/>
        </pc:sldMkLst>
      </pc:sldChg>
      <pc:sldChg chg="del">
        <pc:chgData name="christophe CHUECOS-FONT" userId="7e57acaa-4bc6-4644-8edc-0ecdded28594" providerId="ADAL" clId="{C2BEBF3A-ECBA-4860-AC25-66AB61261A96}" dt="2021-03-18T21:54:46.634" v="2" actId="47"/>
        <pc:sldMkLst>
          <pc:docMk/>
          <pc:sldMk cId="363262154" sldId="858"/>
        </pc:sldMkLst>
      </pc:sldChg>
      <pc:sldChg chg="del">
        <pc:chgData name="christophe CHUECOS-FONT" userId="7e57acaa-4bc6-4644-8edc-0ecdded28594" providerId="ADAL" clId="{C2BEBF3A-ECBA-4860-AC25-66AB61261A96}" dt="2021-03-18T21:54:46.634" v="2" actId="47"/>
        <pc:sldMkLst>
          <pc:docMk/>
          <pc:sldMk cId="1680082296" sldId="859"/>
        </pc:sldMkLst>
      </pc:sldChg>
      <pc:sldChg chg="del">
        <pc:chgData name="christophe CHUECOS-FONT" userId="7e57acaa-4bc6-4644-8edc-0ecdded28594" providerId="ADAL" clId="{C2BEBF3A-ECBA-4860-AC25-66AB61261A96}" dt="2021-03-18T21:54:46.634" v="2" actId="47"/>
        <pc:sldMkLst>
          <pc:docMk/>
          <pc:sldMk cId="3596322850" sldId="860"/>
        </pc:sldMkLst>
      </pc:sldChg>
      <pc:sldChg chg="del">
        <pc:chgData name="christophe CHUECOS-FONT" userId="7e57acaa-4bc6-4644-8edc-0ecdded28594" providerId="ADAL" clId="{C2BEBF3A-ECBA-4860-AC25-66AB61261A96}" dt="2021-03-18T21:54:46.634" v="2" actId="47"/>
        <pc:sldMkLst>
          <pc:docMk/>
          <pc:sldMk cId="1183493075" sldId="861"/>
        </pc:sldMkLst>
      </pc:sldChg>
      <pc:sldChg chg="del">
        <pc:chgData name="christophe CHUECOS-FONT" userId="7e57acaa-4bc6-4644-8edc-0ecdded28594" providerId="ADAL" clId="{C2BEBF3A-ECBA-4860-AC25-66AB61261A96}" dt="2021-03-18T22:22:38.942" v="258" actId="47"/>
        <pc:sldMkLst>
          <pc:docMk/>
          <pc:sldMk cId="1270596968" sldId="863"/>
        </pc:sldMkLst>
      </pc:sldChg>
      <pc:sldChg chg="del">
        <pc:chgData name="christophe CHUECOS-FONT" userId="7e57acaa-4bc6-4644-8edc-0ecdded28594" providerId="ADAL" clId="{C2BEBF3A-ECBA-4860-AC25-66AB61261A96}" dt="2021-03-18T22:22:38.942" v="258" actId="47"/>
        <pc:sldMkLst>
          <pc:docMk/>
          <pc:sldMk cId="1279228181" sldId="864"/>
        </pc:sldMkLst>
      </pc:sldChg>
      <pc:sldChg chg="del">
        <pc:chgData name="christophe CHUECOS-FONT" userId="7e57acaa-4bc6-4644-8edc-0ecdded28594" providerId="ADAL" clId="{C2BEBF3A-ECBA-4860-AC25-66AB61261A96}" dt="2021-03-18T22:22:38.942" v="258" actId="47"/>
        <pc:sldMkLst>
          <pc:docMk/>
          <pc:sldMk cId="1272375052" sldId="865"/>
        </pc:sldMkLst>
      </pc:sldChg>
      <pc:sldChg chg="del">
        <pc:chgData name="christophe CHUECOS-FONT" userId="7e57acaa-4bc6-4644-8edc-0ecdded28594" providerId="ADAL" clId="{C2BEBF3A-ECBA-4860-AC25-66AB61261A96}" dt="2021-03-18T22:22:38.942" v="258" actId="47"/>
        <pc:sldMkLst>
          <pc:docMk/>
          <pc:sldMk cId="1840640440" sldId="866"/>
        </pc:sldMkLst>
      </pc:sldChg>
      <pc:sldChg chg="addSp delSp modSp add mod">
        <pc:chgData name="christophe CHUECOS-FONT" userId="7e57acaa-4bc6-4644-8edc-0ecdded28594" providerId="ADAL" clId="{C2BEBF3A-ECBA-4860-AC25-66AB61261A96}" dt="2021-03-18T22:32:26.886" v="598" actId="13822"/>
        <pc:sldMkLst>
          <pc:docMk/>
          <pc:sldMk cId="2561881984" sldId="890"/>
        </pc:sldMkLst>
        <pc:spChg chg="mod">
          <ac:chgData name="christophe CHUECOS-FONT" userId="7e57acaa-4bc6-4644-8edc-0ecdded28594" providerId="ADAL" clId="{C2BEBF3A-ECBA-4860-AC25-66AB61261A96}" dt="2021-03-18T22:27:09.862" v="419" actId="20577"/>
          <ac:spMkLst>
            <pc:docMk/>
            <pc:sldMk cId="2561881984" sldId="890"/>
            <ac:spMk id="2" creationId="{AEFCB68E-E041-4E46-A233-3C2208DA32CB}"/>
          </ac:spMkLst>
        </pc:spChg>
        <pc:spChg chg="del mod">
          <ac:chgData name="christophe CHUECOS-FONT" userId="7e57acaa-4bc6-4644-8edc-0ecdded28594" providerId="ADAL" clId="{C2BEBF3A-ECBA-4860-AC25-66AB61261A96}" dt="2021-03-18T22:30:06.490" v="485" actId="21"/>
          <ac:spMkLst>
            <pc:docMk/>
            <pc:sldMk cId="2561881984" sldId="890"/>
            <ac:spMk id="3" creationId="{9FA71A85-160A-4CFF-9241-BA71D421B86B}"/>
          </ac:spMkLst>
        </pc:spChg>
        <pc:spChg chg="add del mod">
          <ac:chgData name="christophe CHUECOS-FONT" userId="7e57acaa-4bc6-4644-8edc-0ecdded28594" providerId="ADAL" clId="{C2BEBF3A-ECBA-4860-AC25-66AB61261A96}" dt="2021-03-18T22:30:24.717" v="486" actId="1032"/>
          <ac:spMkLst>
            <pc:docMk/>
            <pc:sldMk cId="2561881984" sldId="890"/>
            <ac:spMk id="6" creationId="{E2B09787-EBA4-4F7F-B3DC-8EDC708E9D42}"/>
          </ac:spMkLst>
        </pc:spChg>
        <pc:graphicFrameChg chg="add del mod modGraphic">
          <ac:chgData name="christophe CHUECOS-FONT" userId="7e57acaa-4bc6-4644-8edc-0ecdded28594" providerId="ADAL" clId="{C2BEBF3A-ECBA-4860-AC25-66AB61261A96}" dt="2021-03-18T22:29:58.959" v="482" actId="1032"/>
          <ac:graphicFrameMkLst>
            <pc:docMk/>
            <pc:sldMk cId="2561881984" sldId="890"/>
            <ac:graphicFrameMk id="4" creationId="{0142870B-CDF0-4CA1-A568-2B7AF0EC7EC1}"/>
          </ac:graphicFrameMkLst>
        </pc:graphicFrameChg>
        <pc:graphicFrameChg chg="add mod modGraphic">
          <ac:chgData name="christophe CHUECOS-FONT" userId="7e57acaa-4bc6-4644-8edc-0ecdded28594" providerId="ADAL" clId="{C2BEBF3A-ECBA-4860-AC25-66AB61261A96}" dt="2021-03-18T22:32:26.886" v="598" actId="13822"/>
          <ac:graphicFrameMkLst>
            <pc:docMk/>
            <pc:sldMk cId="2561881984" sldId="890"/>
            <ac:graphicFrameMk id="7" creationId="{E256D12B-7717-428E-9F1F-CEAB66B37BB8}"/>
          </ac:graphicFrameMkLst>
        </pc:graphicFrameChg>
      </pc:sldChg>
      <pc:sldChg chg="addSp delSp modSp add mod">
        <pc:chgData name="christophe CHUECOS-FONT" userId="7e57acaa-4bc6-4644-8edc-0ecdded28594" providerId="ADAL" clId="{C2BEBF3A-ECBA-4860-AC25-66AB61261A96}" dt="2021-03-18T22:13:16.513" v="187" actId="14734"/>
        <pc:sldMkLst>
          <pc:docMk/>
          <pc:sldMk cId="162758596" sldId="891"/>
        </pc:sldMkLst>
        <pc:spChg chg="mod">
          <ac:chgData name="christophe CHUECOS-FONT" userId="7e57acaa-4bc6-4644-8edc-0ecdded28594" providerId="ADAL" clId="{C2BEBF3A-ECBA-4860-AC25-66AB61261A96}" dt="2021-03-18T22:10:16.097" v="179" actId="6549"/>
          <ac:spMkLst>
            <pc:docMk/>
            <pc:sldMk cId="162758596" sldId="891"/>
            <ac:spMk id="3" creationId="{9FA71A85-160A-4CFF-9241-BA71D421B86B}"/>
          </ac:spMkLst>
        </pc:spChg>
        <pc:spChg chg="add del mod">
          <ac:chgData name="christophe CHUECOS-FONT" userId="7e57acaa-4bc6-4644-8edc-0ecdded28594" providerId="ADAL" clId="{C2BEBF3A-ECBA-4860-AC25-66AB61261A96}" dt="2021-03-18T22:10:01.392" v="178"/>
          <ac:spMkLst>
            <pc:docMk/>
            <pc:sldMk cId="162758596" sldId="891"/>
            <ac:spMk id="5" creationId="{64E23044-CE04-4B94-850D-BD5548A88D42}"/>
          </ac:spMkLst>
        </pc:spChg>
        <pc:graphicFrameChg chg="add del mod">
          <ac:chgData name="christophe CHUECOS-FONT" userId="7e57acaa-4bc6-4644-8edc-0ecdded28594" providerId="ADAL" clId="{C2BEBF3A-ECBA-4860-AC25-66AB61261A96}" dt="2021-03-18T22:10:01.392" v="178"/>
          <ac:graphicFrameMkLst>
            <pc:docMk/>
            <pc:sldMk cId="162758596" sldId="891"/>
            <ac:graphicFrameMk id="4" creationId="{A71DFF4D-A8AC-479D-8ABA-950DEC91BB55}"/>
          </ac:graphicFrameMkLst>
        </pc:graphicFrameChg>
        <pc:graphicFrameChg chg="add mod modGraphic">
          <ac:chgData name="christophe CHUECOS-FONT" userId="7e57acaa-4bc6-4644-8edc-0ecdded28594" providerId="ADAL" clId="{C2BEBF3A-ECBA-4860-AC25-66AB61261A96}" dt="2021-03-18T22:13:16.513" v="187" actId="14734"/>
          <ac:graphicFrameMkLst>
            <pc:docMk/>
            <pc:sldMk cId="162758596" sldId="891"/>
            <ac:graphicFrameMk id="6" creationId="{90B6971D-E1FB-42BE-A7E9-5FA4D585EE92}"/>
          </ac:graphicFrameMkLst>
        </pc:graphicFrameChg>
      </pc:sldChg>
      <pc:sldChg chg="addSp modSp add mod">
        <pc:chgData name="christophe CHUECOS-FONT" userId="7e57acaa-4bc6-4644-8edc-0ecdded28594" providerId="ADAL" clId="{C2BEBF3A-ECBA-4860-AC25-66AB61261A96}" dt="2021-03-18T22:20:51.004" v="193" actId="14100"/>
        <pc:sldMkLst>
          <pc:docMk/>
          <pc:sldMk cId="3592509618" sldId="892"/>
        </pc:sldMkLst>
        <pc:spChg chg="mod">
          <ac:chgData name="christophe CHUECOS-FONT" userId="7e57acaa-4bc6-4644-8edc-0ecdded28594" providerId="ADAL" clId="{C2BEBF3A-ECBA-4860-AC25-66AB61261A96}" dt="2021-03-18T22:20:33.544" v="189" actId="6549"/>
          <ac:spMkLst>
            <pc:docMk/>
            <pc:sldMk cId="3592509618" sldId="892"/>
            <ac:spMk id="3" creationId="{9FA71A85-160A-4CFF-9241-BA71D421B86B}"/>
          </ac:spMkLst>
        </pc:spChg>
        <pc:picChg chg="add mod">
          <ac:chgData name="christophe CHUECOS-FONT" userId="7e57acaa-4bc6-4644-8edc-0ecdded28594" providerId="ADAL" clId="{C2BEBF3A-ECBA-4860-AC25-66AB61261A96}" dt="2021-03-18T22:20:51.004" v="193" actId="14100"/>
          <ac:picMkLst>
            <pc:docMk/>
            <pc:sldMk cId="3592509618" sldId="892"/>
            <ac:picMk id="5" creationId="{A1D02FCC-25C3-466A-AA38-333553E41D2F}"/>
          </ac:picMkLst>
        </pc:picChg>
      </pc:sldChg>
      <pc:sldChg chg="add ord">
        <pc:chgData name="christophe CHUECOS-FONT" userId="7e57acaa-4bc6-4644-8edc-0ecdded28594" providerId="ADAL" clId="{C2BEBF3A-ECBA-4860-AC25-66AB61261A96}" dt="2021-03-18T22:22:59.717" v="261"/>
        <pc:sldMkLst>
          <pc:docMk/>
          <pc:sldMk cId="1833177139" sldId="893"/>
        </pc:sldMkLst>
      </pc:sldChg>
      <pc:sldChg chg="modSp add del mod ord">
        <pc:chgData name="christophe CHUECOS-FONT" userId="7e57acaa-4bc6-4644-8edc-0ecdded28594" providerId="ADAL" clId="{C2BEBF3A-ECBA-4860-AC25-66AB61261A96}" dt="2021-03-18T22:34:13.350" v="633" actId="47"/>
        <pc:sldMkLst>
          <pc:docMk/>
          <pc:sldMk cId="769505132" sldId="894"/>
        </pc:sldMkLst>
        <pc:spChg chg="mod">
          <ac:chgData name="christophe CHUECOS-FONT" userId="7e57acaa-4bc6-4644-8edc-0ecdded28594" providerId="ADAL" clId="{C2BEBF3A-ECBA-4860-AC25-66AB61261A96}" dt="2021-03-18T22:26:54.705" v="415" actId="20577"/>
          <ac:spMkLst>
            <pc:docMk/>
            <pc:sldMk cId="769505132" sldId="894"/>
            <ac:spMk id="3" creationId="{9FA71A85-160A-4CFF-9241-BA71D421B86B}"/>
          </ac:spMkLst>
        </pc:spChg>
      </pc:sldChg>
      <pc:sldChg chg="modSp add mod ord">
        <pc:chgData name="christophe CHUECOS-FONT" userId="7e57acaa-4bc6-4644-8edc-0ecdded28594" providerId="ADAL" clId="{C2BEBF3A-ECBA-4860-AC25-66AB61261A96}" dt="2021-03-18T22:31:38.669" v="596" actId="20577"/>
        <pc:sldMkLst>
          <pc:docMk/>
          <pc:sldMk cId="3528439896" sldId="895"/>
        </pc:sldMkLst>
        <pc:spChg chg="mod">
          <ac:chgData name="christophe CHUECOS-FONT" userId="7e57acaa-4bc6-4644-8edc-0ecdded28594" providerId="ADAL" clId="{C2BEBF3A-ECBA-4860-AC25-66AB61261A96}" dt="2021-03-18T22:31:38.669" v="596" actId="20577"/>
          <ac:spMkLst>
            <pc:docMk/>
            <pc:sldMk cId="3528439896" sldId="895"/>
            <ac:spMk id="2" creationId="{AEFCB68E-E041-4E46-A233-3C2208DA32CB}"/>
          </ac:spMkLst>
        </pc:spChg>
      </pc:sldChg>
      <pc:sldChg chg="addSp delSp modSp new mod setBg">
        <pc:chgData name="christophe CHUECOS-FONT" userId="7e57acaa-4bc6-4644-8edc-0ecdded28594" providerId="ADAL" clId="{C2BEBF3A-ECBA-4860-AC25-66AB61261A96}" dt="2021-03-18T22:33:43.651" v="627" actId="14100"/>
        <pc:sldMkLst>
          <pc:docMk/>
          <pc:sldMk cId="2970499838" sldId="896"/>
        </pc:sldMkLst>
        <pc:spChg chg="mod">
          <ac:chgData name="christophe CHUECOS-FONT" userId="7e57acaa-4bc6-4644-8edc-0ecdded28594" providerId="ADAL" clId="{C2BEBF3A-ECBA-4860-AC25-66AB61261A96}" dt="2021-03-18T22:33:43.651" v="627" actId="14100"/>
          <ac:spMkLst>
            <pc:docMk/>
            <pc:sldMk cId="2970499838" sldId="896"/>
            <ac:spMk id="2" creationId="{63C23A44-953E-4DCE-A2FC-7526BBD520AD}"/>
          </ac:spMkLst>
        </pc:spChg>
        <pc:spChg chg="del">
          <ac:chgData name="christophe CHUECOS-FONT" userId="7e57acaa-4bc6-4644-8edc-0ecdded28594" providerId="ADAL" clId="{C2BEBF3A-ECBA-4860-AC25-66AB61261A96}" dt="2021-03-18T22:33:31.763" v="612" actId="26606"/>
          <ac:spMkLst>
            <pc:docMk/>
            <pc:sldMk cId="2970499838" sldId="896"/>
            <ac:spMk id="3" creationId="{934AA38B-5BF8-4BF2-BBA3-C8382E081187}"/>
          </ac:spMkLst>
        </pc:spChg>
        <pc:spChg chg="add">
          <ac:chgData name="christophe CHUECOS-FONT" userId="7e57acaa-4bc6-4644-8edc-0ecdded28594" providerId="ADAL" clId="{C2BEBF3A-ECBA-4860-AC25-66AB61261A96}" dt="2021-03-18T22:33:31.763" v="612" actId="26606"/>
          <ac:spMkLst>
            <pc:docMk/>
            <pc:sldMk cId="2970499838" sldId="896"/>
            <ac:spMk id="9" creationId="{E91DC736-0EF8-4F87-9146-EBF1D2EE4D3D}"/>
          </ac:spMkLst>
        </pc:spChg>
        <pc:spChg chg="add">
          <ac:chgData name="christophe CHUECOS-FONT" userId="7e57acaa-4bc6-4644-8edc-0ecdded28594" providerId="ADAL" clId="{C2BEBF3A-ECBA-4860-AC25-66AB61261A96}" dt="2021-03-18T22:33:31.763" v="612" actId="26606"/>
          <ac:spMkLst>
            <pc:docMk/>
            <pc:sldMk cId="2970499838" sldId="896"/>
            <ac:spMk id="11" creationId="{097CD68E-23E3-4007-8847-CD0944C4F7BE}"/>
          </ac:spMkLst>
        </pc:spChg>
        <pc:spChg chg="add">
          <ac:chgData name="christophe CHUECOS-FONT" userId="7e57acaa-4bc6-4644-8edc-0ecdded28594" providerId="ADAL" clId="{C2BEBF3A-ECBA-4860-AC25-66AB61261A96}" dt="2021-03-18T22:33:31.763" v="612" actId="26606"/>
          <ac:spMkLst>
            <pc:docMk/>
            <pc:sldMk cId="2970499838" sldId="896"/>
            <ac:spMk id="13" creationId="{AF2F604E-43BE-4DC3-B983-E071523364F8}"/>
          </ac:spMkLst>
        </pc:spChg>
        <pc:spChg chg="add">
          <ac:chgData name="christophe CHUECOS-FONT" userId="7e57acaa-4bc6-4644-8edc-0ecdded28594" providerId="ADAL" clId="{C2BEBF3A-ECBA-4860-AC25-66AB61261A96}" dt="2021-03-18T22:33:31.763" v="612" actId="26606"/>
          <ac:spMkLst>
            <pc:docMk/>
            <pc:sldMk cId="2970499838" sldId="896"/>
            <ac:spMk id="15" creationId="{08C9B587-E65E-4B52-B37C-ABEBB6E87928}"/>
          </ac:spMkLst>
        </pc:spChg>
        <pc:picChg chg="add">
          <ac:chgData name="christophe CHUECOS-FONT" userId="7e57acaa-4bc6-4644-8edc-0ecdded28594" providerId="ADAL" clId="{C2BEBF3A-ECBA-4860-AC25-66AB61261A96}" dt="2021-03-18T22:33:31.763" v="612" actId="26606"/>
          <ac:picMkLst>
            <pc:docMk/>
            <pc:sldMk cId="2970499838" sldId="896"/>
            <ac:picMk id="5" creationId="{040A7521-ECAB-4BBC-ADFA-3C6D881ABFA4}"/>
          </ac:picMkLst>
        </pc:picChg>
      </pc:sldChg>
      <pc:sldChg chg="new del">
        <pc:chgData name="christophe CHUECOS-FONT" userId="7e57acaa-4bc6-4644-8edc-0ecdded28594" providerId="ADAL" clId="{C2BEBF3A-ECBA-4860-AC25-66AB61261A96}" dt="2021-03-18T22:33:53.591" v="629" actId="47"/>
        <pc:sldMkLst>
          <pc:docMk/>
          <pc:sldMk cId="1467064995" sldId="897"/>
        </pc:sldMkLst>
      </pc:sldChg>
      <pc:sldChg chg="modSp add mod ord">
        <pc:chgData name="christophe CHUECOS-FONT" userId="7e57acaa-4bc6-4644-8edc-0ecdded28594" providerId="ADAL" clId="{C2BEBF3A-ECBA-4860-AC25-66AB61261A96}" dt="2021-03-18T22:35:40.180" v="708" actId="20577"/>
        <pc:sldMkLst>
          <pc:docMk/>
          <pc:sldMk cId="3210478480" sldId="897"/>
        </pc:sldMkLst>
        <pc:spChg chg="mod">
          <ac:chgData name="christophe CHUECOS-FONT" userId="7e57acaa-4bc6-4644-8edc-0ecdded28594" providerId="ADAL" clId="{C2BEBF3A-ECBA-4860-AC25-66AB61261A96}" dt="2021-03-18T22:35:40.180" v="708" actId="20577"/>
          <ac:spMkLst>
            <pc:docMk/>
            <pc:sldMk cId="3210478480" sldId="897"/>
            <ac:spMk id="2" creationId="{63C23A44-953E-4DCE-A2FC-7526BBD520AD}"/>
          </ac:spMkLst>
        </pc:spChg>
      </pc:sldChg>
      <pc:sldChg chg="addSp delSp modSp add mod setClrOvrMap">
        <pc:chgData name="christophe CHUECOS-FONT" userId="7e57acaa-4bc6-4644-8edc-0ecdded28594" providerId="ADAL" clId="{C2BEBF3A-ECBA-4860-AC25-66AB61261A96}" dt="2021-03-18T22:50:32.702" v="829" actId="26606"/>
        <pc:sldMkLst>
          <pc:docMk/>
          <pc:sldMk cId="1288409538" sldId="898"/>
        </pc:sldMkLst>
        <pc:spChg chg="mod">
          <ac:chgData name="christophe CHUECOS-FONT" userId="7e57acaa-4bc6-4644-8edc-0ecdded28594" providerId="ADAL" clId="{C2BEBF3A-ECBA-4860-AC25-66AB61261A96}" dt="2021-03-18T22:50:32.702" v="829" actId="26606"/>
          <ac:spMkLst>
            <pc:docMk/>
            <pc:sldMk cId="1288409538" sldId="898"/>
            <ac:spMk id="2" creationId="{63C23A44-953E-4DCE-A2FC-7526BBD520AD}"/>
          </ac:spMkLst>
        </pc:spChg>
        <pc:spChg chg="del">
          <ac:chgData name="christophe CHUECOS-FONT" userId="7e57acaa-4bc6-4644-8edc-0ecdded28594" providerId="ADAL" clId="{C2BEBF3A-ECBA-4860-AC25-66AB61261A96}" dt="2021-03-18T22:50:32.702" v="829" actId="26606"/>
          <ac:spMkLst>
            <pc:docMk/>
            <pc:sldMk cId="1288409538" sldId="898"/>
            <ac:spMk id="9" creationId="{E91DC736-0EF8-4F87-9146-EBF1D2EE4D3D}"/>
          </ac:spMkLst>
        </pc:spChg>
        <pc:spChg chg="del">
          <ac:chgData name="christophe CHUECOS-FONT" userId="7e57acaa-4bc6-4644-8edc-0ecdded28594" providerId="ADAL" clId="{C2BEBF3A-ECBA-4860-AC25-66AB61261A96}" dt="2021-03-18T22:50:32.702" v="829" actId="26606"/>
          <ac:spMkLst>
            <pc:docMk/>
            <pc:sldMk cId="1288409538" sldId="898"/>
            <ac:spMk id="11" creationId="{097CD68E-23E3-4007-8847-CD0944C4F7BE}"/>
          </ac:spMkLst>
        </pc:spChg>
        <pc:spChg chg="del">
          <ac:chgData name="christophe CHUECOS-FONT" userId="7e57acaa-4bc6-4644-8edc-0ecdded28594" providerId="ADAL" clId="{C2BEBF3A-ECBA-4860-AC25-66AB61261A96}" dt="2021-03-18T22:50:32.702" v="829" actId="26606"/>
          <ac:spMkLst>
            <pc:docMk/>
            <pc:sldMk cId="1288409538" sldId="898"/>
            <ac:spMk id="13" creationId="{AF2F604E-43BE-4DC3-B983-E071523364F8}"/>
          </ac:spMkLst>
        </pc:spChg>
        <pc:spChg chg="del">
          <ac:chgData name="christophe CHUECOS-FONT" userId="7e57acaa-4bc6-4644-8edc-0ecdded28594" providerId="ADAL" clId="{C2BEBF3A-ECBA-4860-AC25-66AB61261A96}" dt="2021-03-18T22:50:32.702" v="829" actId="26606"/>
          <ac:spMkLst>
            <pc:docMk/>
            <pc:sldMk cId="1288409538" sldId="898"/>
            <ac:spMk id="15" creationId="{08C9B587-E65E-4B52-B37C-ABEBB6E87928}"/>
          </ac:spMkLst>
        </pc:spChg>
        <pc:spChg chg="add">
          <ac:chgData name="christophe CHUECOS-FONT" userId="7e57acaa-4bc6-4644-8edc-0ecdded28594" providerId="ADAL" clId="{C2BEBF3A-ECBA-4860-AC25-66AB61261A96}" dt="2021-03-18T22:50:32.702" v="829" actId="26606"/>
          <ac:spMkLst>
            <pc:docMk/>
            <pc:sldMk cId="1288409538" sldId="898"/>
            <ac:spMk id="20" creationId="{5A59F003-E00A-43F9-91DC-CC54E3B87466}"/>
          </ac:spMkLst>
        </pc:spChg>
        <pc:spChg chg="add">
          <ac:chgData name="christophe CHUECOS-FONT" userId="7e57acaa-4bc6-4644-8edc-0ecdded28594" providerId="ADAL" clId="{C2BEBF3A-ECBA-4860-AC25-66AB61261A96}" dt="2021-03-18T22:50:32.702" v="829" actId="26606"/>
          <ac:spMkLst>
            <pc:docMk/>
            <pc:sldMk cId="1288409538" sldId="898"/>
            <ac:spMk id="22" creationId="{D74A4382-E3AD-430A-9A1F-DFA3E0E77A7D}"/>
          </ac:spMkLst>
        </pc:spChg>
        <pc:spChg chg="add">
          <ac:chgData name="christophe CHUECOS-FONT" userId="7e57acaa-4bc6-4644-8edc-0ecdded28594" providerId="ADAL" clId="{C2BEBF3A-ECBA-4860-AC25-66AB61261A96}" dt="2021-03-18T22:50:32.702" v="829" actId="26606"/>
          <ac:spMkLst>
            <pc:docMk/>
            <pc:sldMk cId="1288409538" sldId="898"/>
            <ac:spMk id="24" creationId="{79F40191-0F44-4FD1-82CC-ACB507C14BE6}"/>
          </ac:spMkLst>
        </pc:spChg>
        <pc:picChg chg="mod">
          <ac:chgData name="christophe CHUECOS-FONT" userId="7e57acaa-4bc6-4644-8edc-0ecdded28594" providerId="ADAL" clId="{C2BEBF3A-ECBA-4860-AC25-66AB61261A96}" dt="2021-03-18T22:50:32.702" v="829" actId="26606"/>
          <ac:picMkLst>
            <pc:docMk/>
            <pc:sldMk cId="1288409538" sldId="898"/>
            <ac:picMk id="5" creationId="{040A7521-ECAB-4BBC-ADFA-3C6D881ABFA4}"/>
          </ac:picMkLst>
        </pc:picChg>
      </pc:sldChg>
      <pc:sldChg chg="addSp delSp modSp add mod ord">
        <pc:chgData name="christophe CHUECOS-FONT" userId="7e57acaa-4bc6-4644-8edc-0ecdded28594" providerId="ADAL" clId="{C2BEBF3A-ECBA-4860-AC25-66AB61261A96}" dt="2021-03-18T22:39:54.948" v="807" actId="14100"/>
        <pc:sldMkLst>
          <pc:docMk/>
          <pc:sldMk cId="3763403550" sldId="899"/>
        </pc:sldMkLst>
        <pc:spChg chg="mod">
          <ac:chgData name="christophe CHUECOS-FONT" userId="7e57acaa-4bc6-4644-8edc-0ecdded28594" providerId="ADAL" clId="{C2BEBF3A-ECBA-4860-AC25-66AB61261A96}" dt="2021-03-18T22:39:54.948" v="807" actId="14100"/>
          <ac:spMkLst>
            <pc:docMk/>
            <pc:sldMk cId="3763403550" sldId="899"/>
            <ac:spMk id="2" creationId="{AEFCB68E-E041-4E46-A233-3C2208DA32CB}"/>
          </ac:spMkLst>
        </pc:spChg>
        <pc:spChg chg="mod">
          <ac:chgData name="christophe CHUECOS-FONT" userId="7e57acaa-4bc6-4644-8edc-0ecdded28594" providerId="ADAL" clId="{C2BEBF3A-ECBA-4860-AC25-66AB61261A96}" dt="2021-03-18T22:38:23.024" v="798" actId="26606"/>
          <ac:spMkLst>
            <pc:docMk/>
            <pc:sldMk cId="3763403550" sldId="899"/>
            <ac:spMk id="3" creationId="{9FA71A85-160A-4CFF-9241-BA71D421B86B}"/>
          </ac:spMkLst>
        </pc:spChg>
        <pc:spChg chg="add del">
          <ac:chgData name="christophe CHUECOS-FONT" userId="7e57acaa-4bc6-4644-8edc-0ecdded28594" providerId="ADAL" clId="{C2BEBF3A-ECBA-4860-AC25-66AB61261A96}" dt="2021-03-18T22:38:23.024" v="798" actId="26606"/>
          <ac:spMkLst>
            <pc:docMk/>
            <pc:sldMk cId="3763403550" sldId="899"/>
            <ac:spMk id="17" creationId="{100EDD19-6802-4EC3-95CE-CFFAB042CFD6}"/>
          </ac:spMkLst>
        </pc:spChg>
        <pc:spChg chg="add del">
          <ac:chgData name="christophe CHUECOS-FONT" userId="7e57acaa-4bc6-4644-8edc-0ecdded28594" providerId="ADAL" clId="{C2BEBF3A-ECBA-4860-AC25-66AB61261A96}" dt="2021-03-18T22:38:23.024" v="798" actId="26606"/>
          <ac:spMkLst>
            <pc:docMk/>
            <pc:sldMk cId="3763403550" sldId="899"/>
            <ac:spMk id="19" creationId="{DB17E863-922E-4C26-BD64-E8FD41D28661}"/>
          </ac:spMkLst>
        </pc:spChg>
        <pc:spChg chg="add del">
          <ac:chgData name="christophe CHUECOS-FONT" userId="7e57acaa-4bc6-4644-8edc-0ecdded28594" providerId="ADAL" clId="{C2BEBF3A-ECBA-4860-AC25-66AB61261A96}" dt="2021-03-18T22:38:22.994" v="797" actId="26606"/>
          <ac:spMkLst>
            <pc:docMk/>
            <pc:sldMk cId="3763403550" sldId="899"/>
            <ac:spMk id="24" creationId="{0B9EE3F3-89B7-43C3-8651-C4C96830993D}"/>
          </ac:spMkLst>
        </pc:spChg>
        <pc:spChg chg="add del">
          <ac:chgData name="christophe CHUECOS-FONT" userId="7e57acaa-4bc6-4644-8edc-0ecdded28594" providerId="ADAL" clId="{C2BEBF3A-ECBA-4860-AC25-66AB61261A96}" dt="2021-03-18T22:38:22.994" v="797" actId="26606"/>
          <ac:spMkLst>
            <pc:docMk/>
            <pc:sldMk cId="3763403550" sldId="899"/>
            <ac:spMk id="26" creationId="{33AE4636-AEEC-45D6-84D4-7AC2DA48ECF8}"/>
          </ac:spMkLst>
        </pc:spChg>
        <pc:spChg chg="add del">
          <ac:chgData name="christophe CHUECOS-FONT" userId="7e57acaa-4bc6-4644-8edc-0ecdded28594" providerId="ADAL" clId="{C2BEBF3A-ECBA-4860-AC25-66AB61261A96}" dt="2021-03-18T22:38:22.994" v="797" actId="26606"/>
          <ac:spMkLst>
            <pc:docMk/>
            <pc:sldMk cId="3763403550" sldId="899"/>
            <ac:spMk id="28" creationId="{8D9CE0F4-2EB2-4F1F-8AAC-DB3571D9FE10}"/>
          </ac:spMkLst>
        </pc:spChg>
        <pc:spChg chg="add">
          <ac:chgData name="christophe CHUECOS-FONT" userId="7e57acaa-4bc6-4644-8edc-0ecdded28594" providerId="ADAL" clId="{C2BEBF3A-ECBA-4860-AC25-66AB61261A96}" dt="2021-03-18T22:38:23.024" v="798" actId="26606"/>
          <ac:spMkLst>
            <pc:docMk/>
            <pc:sldMk cId="3763403550" sldId="899"/>
            <ac:spMk id="30" creationId="{0570A85B-3810-4F95-97B0-CBF4CCDB381C}"/>
          </ac:spMkLst>
        </pc:spChg>
        <pc:spChg chg="add">
          <ac:chgData name="christophe CHUECOS-FONT" userId="7e57acaa-4bc6-4644-8edc-0ecdded28594" providerId="ADAL" clId="{C2BEBF3A-ECBA-4860-AC25-66AB61261A96}" dt="2021-03-18T22:38:23.024" v="798" actId="26606"/>
          <ac:spMkLst>
            <pc:docMk/>
            <pc:sldMk cId="3763403550" sldId="899"/>
            <ac:spMk id="31" creationId="{2550BE34-C2B8-49B8-8519-67A8CAD51AE9}"/>
          </ac:spMkLst>
        </pc:spChg>
        <pc:spChg chg="add">
          <ac:chgData name="christophe CHUECOS-FONT" userId="7e57acaa-4bc6-4644-8edc-0ecdded28594" providerId="ADAL" clId="{C2BEBF3A-ECBA-4860-AC25-66AB61261A96}" dt="2021-03-18T22:38:23.024" v="798" actId="26606"/>
          <ac:spMkLst>
            <pc:docMk/>
            <pc:sldMk cId="3763403550" sldId="899"/>
            <ac:spMk id="32" creationId="{A7457DD9-5A45-400A-AB4B-4B4EDECA25F1}"/>
          </ac:spMkLst>
        </pc:spChg>
        <pc:spChg chg="add">
          <ac:chgData name="christophe CHUECOS-FONT" userId="7e57acaa-4bc6-4644-8edc-0ecdded28594" providerId="ADAL" clId="{C2BEBF3A-ECBA-4860-AC25-66AB61261A96}" dt="2021-03-18T22:38:23.024" v="798" actId="26606"/>
          <ac:spMkLst>
            <pc:docMk/>
            <pc:sldMk cId="3763403550" sldId="899"/>
            <ac:spMk id="33" creationId="{441CF7D6-A660-431A-B0BB-140A0D5556B6}"/>
          </ac:spMkLst>
        </pc:spChg>
        <pc:graphicFrameChg chg="add mod modGraphic">
          <ac:chgData name="christophe CHUECOS-FONT" userId="7e57acaa-4bc6-4644-8edc-0ecdded28594" providerId="ADAL" clId="{C2BEBF3A-ECBA-4860-AC25-66AB61261A96}" dt="2021-03-18T22:39:28.915" v="802" actId="207"/>
          <ac:graphicFrameMkLst>
            <pc:docMk/>
            <pc:sldMk cId="3763403550" sldId="899"/>
            <ac:graphicFrameMk id="4" creationId="{899E9AA8-912A-43B7-A4FB-BE9A9DE6E87E}"/>
          </ac:graphicFrameMkLst>
        </pc:graphicFrameChg>
        <pc:picChg chg="del">
          <ac:chgData name="christophe CHUECOS-FONT" userId="7e57acaa-4bc6-4644-8edc-0ecdded28594" providerId="ADAL" clId="{C2BEBF3A-ECBA-4860-AC25-66AB61261A96}" dt="2021-03-18T22:36:48.765" v="750" actId="478"/>
          <ac:picMkLst>
            <pc:docMk/>
            <pc:sldMk cId="3763403550" sldId="899"/>
            <ac:picMk id="5" creationId="{A1D02FCC-25C3-466A-AA38-333553E41D2F}"/>
          </ac:picMkLst>
        </pc:picChg>
      </pc:sldChg>
      <pc:sldChg chg="addSp delSp modSp add del mod ord">
        <pc:chgData name="christophe CHUECOS-FONT" userId="7e57acaa-4bc6-4644-8edc-0ecdded28594" providerId="ADAL" clId="{C2BEBF3A-ECBA-4860-AC25-66AB61261A96}" dt="2021-03-18T22:49:45.438" v="825" actId="47"/>
        <pc:sldMkLst>
          <pc:docMk/>
          <pc:sldMk cId="1354499749" sldId="900"/>
        </pc:sldMkLst>
        <pc:spChg chg="mod">
          <ac:chgData name="christophe CHUECOS-FONT" userId="7e57acaa-4bc6-4644-8edc-0ecdded28594" providerId="ADAL" clId="{C2BEBF3A-ECBA-4860-AC25-66AB61261A96}" dt="2021-03-18T22:40:19.563" v="810" actId="20577"/>
          <ac:spMkLst>
            <pc:docMk/>
            <pc:sldMk cId="1354499749" sldId="900"/>
            <ac:spMk id="2" creationId="{AEFCB68E-E041-4E46-A233-3C2208DA32CB}"/>
          </ac:spMkLst>
        </pc:spChg>
        <pc:graphicFrameChg chg="del modGraphic">
          <ac:chgData name="christophe CHUECOS-FONT" userId="7e57acaa-4bc6-4644-8edc-0ecdded28594" providerId="ADAL" clId="{C2BEBF3A-ECBA-4860-AC25-66AB61261A96}" dt="2021-03-18T22:48:11.265" v="814" actId="478"/>
          <ac:graphicFrameMkLst>
            <pc:docMk/>
            <pc:sldMk cId="1354499749" sldId="900"/>
            <ac:graphicFrameMk id="4" creationId="{899E9AA8-912A-43B7-A4FB-BE9A9DE6E87E}"/>
          </ac:graphicFrameMkLst>
        </pc:graphicFrameChg>
        <pc:picChg chg="add mod">
          <ac:chgData name="christophe CHUECOS-FONT" userId="7e57acaa-4bc6-4644-8edc-0ecdded28594" providerId="ADAL" clId="{C2BEBF3A-ECBA-4860-AC25-66AB61261A96}" dt="2021-03-18T22:48:49.498" v="817" actId="14100"/>
          <ac:picMkLst>
            <pc:docMk/>
            <pc:sldMk cId="1354499749" sldId="900"/>
            <ac:picMk id="6" creationId="{97F6DE1E-D78E-4F04-A0E2-7B5A8D9AE6C6}"/>
          </ac:picMkLst>
        </pc:picChg>
      </pc:sldChg>
      <pc:sldChg chg="addSp delSp modSp new mod">
        <pc:chgData name="christophe CHUECOS-FONT" userId="7e57acaa-4bc6-4644-8edc-0ecdded28594" providerId="ADAL" clId="{C2BEBF3A-ECBA-4860-AC25-66AB61261A96}" dt="2021-03-18T22:49:27.867" v="823" actId="14100"/>
        <pc:sldMkLst>
          <pc:docMk/>
          <pc:sldMk cId="456064155" sldId="901"/>
        </pc:sldMkLst>
        <pc:spChg chg="del mod">
          <ac:chgData name="christophe CHUECOS-FONT" userId="7e57acaa-4bc6-4644-8edc-0ecdded28594" providerId="ADAL" clId="{C2BEBF3A-ECBA-4860-AC25-66AB61261A96}" dt="2021-03-18T22:49:20.690" v="821" actId="21"/>
          <ac:spMkLst>
            <pc:docMk/>
            <pc:sldMk cId="456064155" sldId="901"/>
            <ac:spMk id="2" creationId="{563C3254-B9AA-4645-B47F-E86EDD9EE1B8}"/>
          </ac:spMkLst>
        </pc:spChg>
        <pc:spChg chg="del">
          <ac:chgData name="christophe CHUECOS-FONT" userId="7e57acaa-4bc6-4644-8edc-0ecdded28594" providerId="ADAL" clId="{C2BEBF3A-ECBA-4860-AC25-66AB61261A96}" dt="2021-03-18T22:49:13.704" v="819" actId="931"/>
          <ac:spMkLst>
            <pc:docMk/>
            <pc:sldMk cId="456064155" sldId="901"/>
            <ac:spMk id="3" creationId="{247BF5D3-CBCB-4451-B5D9-9A160E93ADC1}"/>
          </ac:spMkLst>
        </pc:spChg>
        <pc:picChg chg="add mod">
          <ac:chgData name="christophe CHUECOS-FONT" userId="7e57acaa-4bc6-4644-8edc-0ecdded28594" providerId="ADAL" clId="{C2BEBF3A-ECBA-4860-AC25-66AB61261A96}" dt="2021-03-18T22:49:27.867" v="823" actId="14100"/>
          <ac:picMkLst>
            <pc:docMk/>
            <pc:sldMk cId="456064155" sldId="901"/>
            <ac:picMk id="5" creationId="{9E5A8C8C-819C-46F4-AB03-862877E6AC92}"/>
          </ac:picMkLst>
        </pc:picChg>
      </pc:sldChg>
      <pc:sldChg chg="modSp add mod">
        <pc:chgData name="christophe CHUECOS-FONT" userId="7e57acaa-4bc6-4644-8edc-0ecdded28594" providerId="ADAL" clId="{C2BEBF3A-ECBA-4860-AC25-66AB61261A96}" dt="2021-03-18T22:50:07.949" v="827" actId="14100"/>
        <pc:sldMkLst>
          <pc:docMk/>
          <pc:sldMk cId="3566007874" sldId="902"/>
        </pc:sldMkLst>
        <pc:picChg chg="mod">
          <ac:chgData name="christophe CHUECOS-FONT" userId="7e57acaa-4bc6-4644-8edc-0ecdded28594" providerId="ADAL" clId="{C2BEBF3A-ECBA-4860-AC25-66AB61261A96}" dt="2021-03-18T22:50:07.949" v="827" actId="14100"/>
          <ac:picMkLst>
            <pc:docMk/>
            <pc:sldMk cId="3566007874" sldId="902"/>
            <ac:picMk id="5" creationId="{9E5A8C8C-819C-46F4-AB03-862877E6AC92}"/>
          </ac:picMkLst>
        </pc:picChg>
      </pc:sldChg>
      <pc:sldChg chg="addSp modSp new mod setBg">
        <pc:chgData name="christophe CHUECOS-FONT" userId="7e57acaa-4bc6-4644-8edc-0ecdded28594" providerId="ADAL" clId="{C2BEBF3A-ECBA-4860-AC25-66AB61261A96}" dt="2021-03-18T23:37:09.809" v="1693" actId="26606"/>
        <pc:sldMkLst>
          <pc:docMk/>
          <pc:sldMk cId="518596460" sldId="903"/>
        </pc:sldMkLst>
        <pc:spChg chg="mod">
          <ac:chgData name="christophe CHUECOS-FONT" userId="7e57acaa-4bc6-4644-8edc-0ecdded28594" providerId="ADAL" clId="{C2BEBF3A-ECBA-4860-AC25-66AB61261A96}" dt="2021-03-18T23:37:09.809" v="1693" actId="26606"/>
          <ac:spMkLst>
            <pc:docMk/>
            <pc:sldMk cId="518596460" sldId="903"/>
            <ac:spMk id="2" creationId="{41644713-AF21-4543-94FE-A96FEBAA2B11}"/>
          </ac:spMkLst>
        </pc:spChg>
        <pc:spChg chg="mod">
          <ac:chgData name="christophe CHUECOS-FONT" userId="7e57acaa-4bc6-4644-8edc-0ecdded28594" providerId="ADAL" clId="{C2BEBF3A-ECBA-4860-AC25-66AB61261A96}" dt="2021-03-18T23:37:09.809" v="1693" actId="26606"/>
          <ac:spMkLst>
            <pc:docMk/>
            <pc:sldMk cId="518596460" sldId="903"/>
            <ac:spMk id="3" creationId="{6E6AB3AA-03B3-4E7A-94A3-3EB3E0E9D005}"/>
          </ac:spMkLst>
        </pc:spChg>
        <pc:spChg chg="add">
          <ac:chgData name="christophe CHUECOS-FONT" userId="7e57acaa-4bc6-4644-8edc-0ecdded28594" providerId="ADAL" clId="{C2BEBF3A-ECBA-4860-AC25-66AB61261A96}" dt="2021-03-18T23:37:09.809" v="1693" actId="26606"/>
          <ac:spMkLst>
            <pc:docMk/>
            <pc:sldMk cId="518596460" sldId="903"/>
            <ac:spMk id="8" creationId="{1ACA2EA0-FFD3-42EC-9406-B595015ED96E}"/>
          </ac:spMkLst>
        </pc:spChg>
        <pc:spChg chg="add">
          <ac:chgData name="christophe CHUECOS-FONT" userId="7e57acaa-4bc6-4644-8edc-0ecdded28594" providerId="ADAL" clId="{C2BEBF3A-ECBA-4860-AC25-66AB61261A96}" dt="2021-03-18T23:37:09.809" v="1693" actId="26606"/>
          <ac:spMkLst>
            <pc:docMk/>
            <pc:sldMk cId="518596460" sldId="903"/>
            <ac:spMk id="10" creationId="{D5288BCE-665C-472A-8C43-664BCFA31E43}"/>
          </ac:spMkLst>
        </pc:spChg>
        <pc:spChg chg="add">
          <ac:chgData name="christophe CHUECOS-FONT" userId="7e57acaa-4bc6-4644-8edc-0ecdded28594" providerId="ADAL" clId="{C2BEBF3A-ECBA-4860-AC25-66AB61261A96}" dt="2021-03-18T23:37:09.809" v="1693" actId="26606"/>
          <ac:spMkLst>
            <pc:docMk/>
            <pc:sldMk cId="518596460" sldId="903"/>
            <ac:spMk id="12" creationId="{46C57131-53A7-4C1A-BEA8-25F06A06AD29}"/>
          </ac:spMkLst>
        </pc:spChg>
      </pc:sldChg>
      <pc:sldChg chg="addSp delSp modSp add mod ord setBg setClrOvrMap">
        <pc:chgData name="christophe CHUECOS-FONT" userId="7e57acaa-4bc6-4644-8edc-0ecdded28594" providerId="ADAL" clId="{C2BEBF3A-ECBA-4860-AC25-66AB61261A96}" dt="2021-03-18T23:43:37.528" v="1750" actId="6549"/>
        <pc:sldMkLst>
          <pc:docMk/>
          <pc:sldMk cId="2856685236" sldId="904"/>
        </pc:sldMkLst>
        <pc:spChg chg="mod">
          <ac:chgData name="christophe CHUECOS-FONT" userId="7e57acaa-4bc6-4644-8edc-0ecdded28594" providerId="ADAL" clId="{C2BEBF3A-ECBA-4860-AC25-66AB61261A96}" dt="2021-03-18T23:36:53.360" v="1692" actId="26606"/>
          <ac:spMkLst>
            <pc:docMk/>
            <pc:sldMk cId="2856685236" sldId="904"/>
            <ac:spMk id="2" creationId="{02517F6E-26E9-44E8-815E-774552D95FD0}"/>
          </ac:spMkLst>
        </pc:spChg>
        <pc:spChg chg="mod ord">
          <ac:chgData name="christophe CHUECOS-FONT" userId="7e57acaa-4bc6-4644-8edc-0ecdded28594" providerId="ADAL" clId="{C2BEBF3A-ECBA-4860-AC25-66AB61261A96}" dt="2021-03-18T23:43:37.528" v="1750" actId="6549"/>
          <ac:spMkLst>
            <pc:docMk/>
            <pc:sldMk cId="2856685236" sldId="904"/>
            <ac:spMk id="5" creationId="{DFEA2082-E7DE-4453-8158-54F380B94285}"/>
          </ac:spMkLst>
        </pc:spChg>
        <pc:spChg chg="del">
          <ac:chgData name="christophe CHUECOS-FONT" userId="7e57acaa-4bc6-4644-8edc-0ecdded28594" providerId="ADAL" clId="{C2BEBF3A-ECBA-4860-AC25-66AB61261A96}" dt="2021-03-18T23:36:53.360" v="1692" actId="26606"/>
          <ac:spMkLst>
            <pc:docMk/>
            <pc:sldMk cId="2856685236" sldId="904"/>
            <ac:spMk id="77" creationId="{8537B233-9CDD-4A90-AABB-A8963DEE4FBC}"/>
          </ac:spMkLst>
        </pc:spChg>
        <pc:spChg chg="add">
          <ac:chgData name="christophe CHUECOS-FONT" userId="7e57acaa-4bc6-4644-8edc-0ecdded28594" providerId="ADAL" clId="{C2BEBF3A-ECBA-4860-AC25-66AB61261A96}" dt="2021-03-18T23:36:53.360" v="1692" actId="26606"/>
          <ac:spMkLst>
            <pc:docMk/>
            <pc:sldMk cId="2856685236" sldId="904"/>
            <ac:spMk id="84" creationId="{23E547B5-89CF-4EC0-96DE-25771AED0799}"/>
          </ac:spMkLst>
        </pc:spChg>
        <pc:spChg chg="add">
          <ac:chgData name="christophe CHUECOS-FONT" userId="7e57acaa-4bc6-4644-8edc-0ecdded28594" providerId="ADAL" clId="{C2BEBF3A-ECBA-4860-AC25-66AB61261A96}" dt="2021-03-18T23:36:53.360" v="1692" actId="26606"/>
          <ac:spMkLst>
            <pc:docMk/>
            <pc:sldMk cId="2856685236" sldId="904"/>
            <ac:spMk id="86" creationId="{3F0B8CEB-8279-4E5E-A0CE-1FC9F71736F2}"/>
          </ac:spMkLst>
        </pc:spChg>
        <pc:picChg chg="mod">
          <ac:chgData name="christophe CHUECOS-FONT" userId="7e57acaa-4bc6-4644-8edc-0ecdded28594" providerId="ADAL" clId="{C2BEBF3A-ECBA-4860-AC25-66AB61261A96}" dt="2021-03-18T23:36:53.360" v="1692" actId="26606"/>
          <ac:picMkLst>
            <pc:docMk/>
            <pc:sldMk cId="2856685236" sldId="904"/>
            <ac:picMk id="36" creationId="{FC9EF324-339C-4E46-9508-BF0C86AAC793}"/>
          </ac:picMkLst>
        </pc:picChg>
        <pc:cxnChg chg="del">
          <ac:chgData name="christophe CHUECOS-FONT" userId="7e57acaa-4bc6-4644-8edc-0ecdded28594" providerId="ADAL" clId="{C2BEBF3A-ECBA-4860-AC25-66AB61261A96}" dt="2021-03-18T23:36:53.360" v="1692" actId="26606"/>
          <ac:cxnSpMkLst>
            <pc:docMk/>
            <pc:sldMk cId="2856685236" sldId="904"/>
            <ac:cxnSpMk id="79" creationId="{040575EE-C594-4566-BC00-663004E52AB5}"/>
          </ac:cxnSpMkLst>
        </pc:cxnChg>
      </pc:sldChg>
      <pc:sldChg chg="modSp add mod ord">
        <pc:chgData name="christophe CHUECOS-FONT" userId="7e57acaa-4bc6-4644-8edc-0ecdded28594" providerId="ADAL" clId="{C2BEBF3A-ECBA-4860-AC25-66AB61261A96}" dt="2021-03-18T22:55:00.066" v="879" actId="6549"/>
        <pc:sldMkLst>
          <pc:docMk/>
          <pc:sldMk cId="963568808" sldId="905"/>
        </pc:sldMkLst>
        <pc:spChg chg="mod">
          <ac:chgData name="christophe CHUECOS-FONT" userId="7e57acaa-4bc6-4644-8edc-0ecdded28594" providerId="ADAL" clId="{C2BEBF3A-ECBA-4860-AC25-66AB61261A96}" dt="2021-03-18T22:55:00.066" v="879" actId="6549"/>
          <ac:spMkLst>
            <pc:docMk/>
            <pc:sldMk cId="963568808" sldId="905"/>
            <ac:spMk id="5" creationId="{DFEA2082-E7DE-4453-8158-54F380B94285}"/>
          </ac:spMkLst>
        </pc:spChg>
      </pc:sldChg>
      <pc:sldChg chg="modSp add mod ord">
        <pc:chgData name="christophe CHUECOS-FONT" userId="7e57acaa-4bc6-4644-8edc-0ecdded28594" providerId="ADAL" clId="{C2BEBF3A-ECBA-4860-AC25-66AB61261A96}" dt="2021-03-18T23:03:35.194" v="1562" actId="13926"/>
        <pc:sldMkLst>
          <pc:docMk/>
          <pc:sldMk cId="2413877595" sldId="906"/>
        </pc:sldMkLst>
        <pc:spChg chg="mod">
          <ac:chgData name="christophe CHUECOS-FONT" userId="7e57acaa-4bc6-4644-8edc-0ecdded28594" providerId="ADAL" clId="{C2BEBF3A-ECBA-4860-AC25-66AB61261A96}" dt="2021-03-18T23:00:51.209" v="1388" actId="20577"/>
          <ac:spMkLst>
            <pc:docMk/>
            <pc:sldMk cId="2413877595" sldId="906"/>
            <ac:spMk id="2" creationId="{AEFCB68E-E041-4E46-A233-3C2208DA32CB}"/>
          </ac:spMkLst>
        </pc:spChg>
        <pc:spChg chg="mod">
          <ac:chgData name="christophe CHUECOS-FONT" userId="7e57acaa-4bc6-4644-8edc-0ecdded28594" providerId="ADAL" clId="{C2BEBF3A-ECBA-4860-AC25-66AB61261A96}" dt="2021-03-18T23:03:35.194" v="1562" actId="13926"/>
          <ac:spMkLst>
            <pc:docMk/>
            <pc:sldMk cId="2413877595" sldId="906"/>
            <ac:spMk id="3" creationId="{9FA71A85-160A-4CFF-9241-BA71D421B86B}"/>
          </ac:spMkLst>
        </pc:spChg>
      </pc:sldChg>
      <pc:sldChg chg="addSp modSp add mod">
        <pc:chgData name="christophe CHUECOS-FONT" userId="7e57acaa-4bc6-4644-8edc-0ecdded28594" providerId="ADAL" clId="{C2BEBF3A-ECBA-4860-AC25-66AB61261A96}" dt="2021-03-18T23:36:29.851" v="1691" actId="20577"/>
        <pc:sldMkLst>
          <pc:docMk/>
          <pc:sldMk cId="606901911" sldId="907"/>
        </pc:sldMkLst>
        <pc:spChg chg="mod">
          <ac:chgData name="christophe CHUECOS-FONT" userId="7e57acaa-4bc6-4644-8edc-0ecdded28594" providerId="ADAL" clId="{C2BEBF3A-ECBA-4860-AC25-66AB61261A96}" dt="2021-03-18T23:36:29.851" v="1691" actId="20577"/>
          <ac:spMkLst>
            <pc:docMk/>
            <pc:sldMk cId="606901911" sldId="907"/>
            <ac:spMk id="3" creationId="{6E6AB3AA-03B3-4E7A-94A3-3EB3E0E9D005}"/>
          </ac:spMkLst>
        </pc:spChg>
        <pc:graphicFrameChg chg="add mod modGraphic">
          <ac:chgData name="christophe CHUECOS-FONT" userId="7e57acaa-4bc6-4644-8edc-0ecdded28594" providerId="ADAL" clId="{C2BEBF3A-ECBA-4860-AC25-66AB61261A96}" dt="2021-03-18T23:36:19.589" v="1676" actId="255"/>
          <ac:graphicFrameMkLst>
            <pc:docMk/>
            <pc:sldMk cId="606901911" sldId="907"/>
            <ac:graphicFrameMk id="4" creationId="{AD30B320-E949-46DE-88E4-430E435C5149}"/>
          </ac:graphicFrameMkLst>
        </pc:graphicFrameChg>
      </pc:sldChg>
      <pc:sldChg chg="addSp delSp modSp add mod">
        <pc:chgData name="christophe CHUECOS-FONT" userId="7e57acaa-4bc6-4644-8edc-0ecdded28594" providerId="ADAL" clId="{C2BEBF3A-ECBA-4860-AC25-66AB61261A96}" dt="2021-03-18T23:39:34.788" v="1718" actId="14100"/>
        <pc:sldMkLst>
          <pc:docMk/>
          <pc:sldMk cId="3810924798" sldId="908"/>
        </pc:sldMkLst>
        <pc:spChg chg="del mod">
          <ac:chgData name="christophe CHUECOS-FONT" userId="7e57acaa-4bc6-4644-8edc-0ecdded28594" providerId="ADAL" clId="{C2BEBF3A-ECBA-4860-AC25-66AB61261A96}" dt="2021-03-18T23:38:36.079" v="1710"/>
          <ac:spMkLst>
            <pc:docMk/>
            <pc:sldMk cId="3810924798" sldId="908"/>
            <ac:spMk id="3" creationId="{6E6AB3AA-03B3-4E7A-94A3-3EB3E0E9D005}"/>
          </ac:spMkLst>
        </pc:spChg>
        <pc:graphicFrameChg chg="del">
          <ac:chgData name="christophe CHUECOS-FONT" userId="7e57acaa-4bc6-4644-8edc-0ecdded28594" providerId="ADAL" clId="{C2BEBF3A-ECBA-4860-AC25-66AB61261A96}" dt="2021-03-18T23:38:25.863" v="1695" actId="478"/>
          <ac:graphicFrameMkLst>
            <pc:docMk/>
            <pc:sldMk cId="3810924798" sldId="908"/>
            <ac:graphicFrameMk id="4" creationId="{AD30B320-E949-46DE-88E4-430E435C5149}"/>
          </ac:graphicFrameMkLst>
        </pc:graphicFrameChg>
        <pc:graphicFrameChg chg="add mod modGraphic">
          <ac:chgData name="christophe CHUECOS-FONT" userId="7e57acaa-4bc6-4644-8edc-0ecdded28594" providerId="ADAL" clId="{C2BEBF3A-ECBA-4860-AC25-66AB61261A96}" dt="2021-03-18T23:39:34.788" v="1718" actId="14100"/>
          <ac:graphicFrameMkLst>
            <pc:docMk/>
            <pc:sldMk cId="3810924798" sldId="908"/>
            <ac:graphicFrameMk id="5" creationId="{43C069CA-369C-4FE3-84C1-BB47F63F8528}"/>
          </ac:graphicFrameMkLst>
        </pc:graphicFrameChg>
      </pc:sldChg>
      <pc:sldChg chg="addSp delSp modSp add mod addCm">
        <pc:chgData name="christophe CHUECOS-FONT" userId="7e57acaa-4bc6-4644-8edc-0ecdded28594" providerId="ADAL" clId="{C2BEBF3A-ECBA-4860-AC25-66AB61261A96}" dt="2021-03-18T23:42:33.889" v="1736" actId="14100"/>
        <pc:sldMkLst>
          <pc:docMk/>
          <pc:sldMk cId="1480198139" sldId="909"/>
        </pc:sldMkLst>
        <pc:spChg chg="del">
          <ac:chgData name="christophe CHUECOS-FONT" userId="7e57acaa-4bc6-4644-8edc-0ecdded28594" providerId="ADAL" clId="{C2BEBF3A-ECBA-4860-AC25-66AB61261A96}" dt="2021-03-18T23:41:17.645" v="1727" actId="21"/>
          <ac:spMkLst>
            <pc:docMk/>
            <pc:sldMk cId="1480198139" sldId="909"/>
            <ac:spMk id="2" creationId="{41644713-AF21-4543-94FE-A96FEBAA2B11}"/>
          </ac:spMkLst>
        </pc:spChg>
        <pc:spChg chg="add del mod">
          <ac:chgData name="christophe CHUECOS-FONT" userId="7e57acaa-4bc6-4644-8edc-0ecdded28594" providerId="ADAL" clId="{C2BEBF3A-ECBA-4860-AC25-66AB61261A96}" dt="2021-03-18T23:40:50.116" v="1724"/>
          <ac:spMkLst>
            <pc:docMk/>
            <pc:sldMk cId="1480198139" sldId="909"/>
            <ac:spMk id="4" creationId="{23EFB48C-8B05-432F-B3CA-70CF4B54BE2A}"/>
          </ac:spMkLst>
        </pc:spChg>
        <pc:spChg chg="add del mod">
          <ac:chgData name="christophe CHUECOS-FONT" userId="7e57acaa-4bc6-4644-8edc-0ecdded28594" providerId="ADAL" clId="{C2BEBF3A-ECBA-4860-AC25-66AB61261A96}" dt="2021-03-18T23:41:59.174" v="1732" actId="21"/>
          <ac:spMkLst>
            <pc:docMk/>
            <pc:sldMk cId="1480198139" sldId="909"/>
            <ac:spMk id="8" creationId="{67B91E09-3E36-47DC-B23D-CA7F469C5F77}"/>
          </ac:spMkLst>
        </pc:spChg>
        <pc:spChg chg="add del mod">
          <ac:chgData name="christophe CHUECOS-FONT" userId="7e57acaa-4bc6-4644-8edc-0ecdded28594" providerId="ADAL" clId="{C2BEBF3A-ECBA-4860-AC25-66AB61261A96}" dt="2021-03-18T23:41:48.405" v="1731"/>
          <ac:spMkLst>
            <pc:docMk/>
            <pc:sldMk cId="1480198139" sldId="909"/>
            <ac:spMk id="10" creationId="{530FEB83-F28E-4450-AFD7-75C29BD02B31}"/>
          </ac:spMkLst>
        </pc:spChg>
        <pc:spChg chg="add del mod">
          <ac:chgData name="christophe CHUECOS-FONT" userId="7e57acaa-4bc6-4644-8edc-0ecdded28594" providerId="ADAL" clId="{C2BEBF3A-ECBA-4860-AC25-66AB61261A96}" dt="2021-03-18T23:41:27.290" v="1729" actId="21"/>
          <ac:spMkLst>
            <pc:docMk/>
            <pc:sldMk cId="1480198139" sldId="909"/>
            <ac:spMk id="11" creationId="{18543A2C-569F-4216-9CE3-E201FE2A80B5}"/>
          </ac:spMkLst>
        </pc:spChg>
        <pc:graphicFrameChg chg="del mod modGraphic">
          <ac:chgData name="christophe CHUECOS-FONT" userId="7e57acaa-4bc6-4644-8edc-0ecdded28594" providerId="ADAL" clId="{C2BEBF3A-ECBA-4860-AC25-66AB61261A96}" dt="2021-03-18T23:40:10.151" v="1723" actId="21"/>
          <ac:graphicFrameMkLst>
            <pc:docMk/>
            <pc:sldMk cId="1480198139" sldId="909"/>
            <ac:graphicFrameMk id="5" creationId="{43C069CA-369C-4FE3-84C1-BB47F63F8528}"/>
          </ac:graphicFrameMkLst>
        </pc:graphicFrameChg>
        <pc:graphicFrameChg chg="add del mod modGraphic">
          <ac:chgData name="christophe CHUECOS-FONT" userId="7e57acaa-4bc6-4644-8edc-0ecdded28594" providerId="ADAL" clId="{C2BEBF3A-ECBA-4860-AC25-66AB61261A96}" dt="2021-03-18T23:41:17.645" v="1727" actId="21"/>
          <ac:graphicFrameMkLst>
            <pc:docMk/>
            <pc:sldMk cId="1480198139" sldId="909"/>
            <ac:graphicFrameMk id="6" creationId="{E5CEB532-113F-44BB-89D7-7CB8490AEFFC}"/>
          </ac:graphicFrameMkLst>
        </pc:graphicFrameChg>
        <pc:graphicFrameChg chg="add del mod">
          <ac:chgData name="christophe CHUECOS-FONT" userId="7e57acaa-4bc6-4644-8edc-0ecdded28594" providerId="ADAL" clId="{C2BEBF3A-ECBA-4860-AC25-66AB61261A96}" dt="2021-03-18T23:41:27.290" v="1729" actId="21"/>
          <ac:graphicFrameMkLst>
            <pc:docMk/>
            <pc:sldMk cId="1480198139" sldId="909"/>
            <ac:graphicFrameMk id="12" creationId="{3F2BC7C0-3058-45B5-831C-2A0247FF33A6}"/>
          </ac:graphicFrameMkLst>
        </pc:graphicFrameChg>
        <pc:graphicFrameChg chg="add mod modGraphic">
          <ac:chgData name="christophe CHUECOS-FONT" userId="7e57acaa-4bc6-4644-8edc-0ecdded28594" providerId="ADAL" clId="{C2BEBF3A-ECBA-4860-AC25-66AB61261A96}" dt="2021-03-18T23:42:33.889" v="1736" actId="14100"/>
          <ac:graphicFrameMkLst>
            <pc:docMk/>
            <pc:sldMk cId="1480198139" sldId="909"/>
            <ac:graphicFrameMk id="13" creationId="{6EB9F717-B5A8-4A5D-B160-A8BE78AE15BF}"/>
          </ac:graphicFrameMkLst>
        </pc:graphicFrameChg>
      </pc:sldChg>
      <pc:sldChg chg="modSp add mod ord">
        <pc:chgData name="christophe CHUECOS-FONT" userId="7e57acaa-4bc6-4644-8edc-0ecdded28594" providerId="ADAL" clId="{C2BEBF3A-ECBA-4860-AC25-66AB61261A96}" dt="2021-03-18T23:43:18.317" v="1742" actId="255"/>
        <pc:sldMkLst>
          <pc:docMk/>
          <pc:sldMk cId="4043781952" sldId="910"/>
        </pc:sldMkLst>
        <pc:spChg chg="mod">
          <ac:chgData name="christophe CHUECOS-FONT" userId="7e57acaa-4bc6-4644-8edc-0ecdded28594" providerId="ADAL" clId="{C2BEBF3A-ECBA-4860-AC25-66AB61261A96}" dt="2021-03-18T23:43:18.317" v="1742" actId="255"/>
          <ac:spMkLst>
            <pc:docMk/>
            <pc:sldMk cId="4043781952" sldId="910"/>
            <ac:spMk id="5" creationId="{DFEA2082-E7DE-4453-8158-54F380B94285}"/>
          </ac:spMkLst>
        </pc:spChg>
      </pc:sldChg>
    </pc:docChg>
  </pc:docChgLst>
</pc:chgInfo>
</file>

<file path=ppt/comments/comment1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2" dt="2021-03-19T00:41:35.396" idx="2">
    <p:pos x="777" y="1180"/>
    <p:text/>
    <p:extLst>
      <p:ext uri="{C676402C-5697-4E1C-873F-D02D1690AC5C}">
        <p15:threadingInfo xmlns:p15="http://schemas.microsoft.com/office/powerpoint/2012/main" timeZoneBias="-60"/>
      </p:ext>
    </p:extLst>
  </p:cm>
</p:cmLst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9AFC2DA3-DFE2-4B18-8CFF-B6C194199D42}" type="doc">
      <dgm:prSet loTypeId="urn:microsoft.com/office/officeart/2005/8/layout/list1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fr-FR"/>
        </a:p>
      </dgm:t>
    </dgm:pt>
    <dgm:pt modelId="{1848F16E-E15F-4D4B-A54F-DD6C25A47D86}">
      <dgm:prSet phldrT="[Texte]">
        <dgm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dgm:style>
      </dgm:prSet>
      <dgm:spPr/>
      <dgm:t>
        <a:bodyPr/>
        <a:lstStyle/>
        <a:p>
          <a:r>
            <a:rPr lang="fr-FR" dirty="0"/>
            <a:t>Compte en T</a:t>
          </a:r>
        </a:p>
      </dgm:t>
    </dgm:pt>
    <dgm:pt modelId="{83A05193-ED83-4BA0-B2B6-D970851BB0F5}" type="parTrans" cxnId="{27AA5EA8-54C6-445F-957F-CAEAE58D9A73}">
      <dgm:prSet/>
      <dgm:spPr/>
      <dgm:t>
        <a:bodyPr/>
        <a:lstStyle/>
        <a:p>
          <a:endParaRPr lang="fr-FR"/>
        </a:p>
      </dgm:t>
    </dgm:pt>
    <dgm:pt modelId="{EA5755ED-D815-4808-9005-C7AE7F75547F}" type="sibTrans" cxnId="{27AA5EA8-54C6-445F-957F-CAEAE58D9A73}">
      <dgm:prSet/>
      <dgm:spPr/>
      <dgm:t>
        <a:bodyPr/>
        <a:lstStyle/>
        <a:p>
          <a:endParaRPr lang="fr-FR"/>
        </a:p>
      </dgm:t>
    </dgm:pt>
    <dgm:pt modelId="{DD84FB1B-4E1A-4BE1-84AB-F0C4A62A2084}">
      <dgm:prSet phldrT="[Texte]"/>
      <dgm:spPr/>
      <dgm:t>
        <a:bodyPr/>
        <a:lstStyle/>
        <a:p>
          <a:r>
            <a:rPr lang="fr-FR" dirty="0"/>
            <a:t>Journal chronologique</a:t>
          </a:r>
        </a:p>
      </dgm:t>
    </dgm:pt>
    <dgm:pt modelId="{4BF881E6-F60D-48BB-96A3-8BA6839EAFA4}" type="parTrans" cxnId="{81A16F23-B2F7-45A3-B55D-B7EB445AA162}">
      <dgm:prSet/>
      <dgm:spPr/>
      <dgm:t>
        <a:bodyPr/>
        <a:lstStyle/>
        <a:p>
          <a:endParaRPr lang="fr-FR"/>
        </a:p>
      </dgm:t>
    </dgm:pt>
    <dgm:pt modelId="{468E49E8-7462-44F4-A332-913DF18C4488}" type="sibTrans" cxnId="{81A16F23-B2F7-45A3-B55D-B7EB445AA162}">
      <dgm:prSet/>
      <dgm:spPr/>
      <dgm:t>
        <a:bodyPr/>
        <a:lstStyle/>
        <a:p>
          <a:endParaRPr lang="fr-FR"/>
        </a:p>
      </dgm:t>
    </dgm:pt>
    <dgm:pt modelId="{E2E75E47-CB26-4960-95E2-47CF7BCADE57}">
      <dgm:prSet phldrT="[Texte]">
        <dgm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dgm:style>
      </dgm:prSet>
      <dgm:spPr/>
      <dgm:t>
        <a:bodyPr/>
        <a:lstStyle/>
        <a:p>
          <a:r>
            <a:rPr lang="fr-FR" dirty="0"/>
            <a:t>Journaux ( achats / ventes / banque…)</a:t>
          </a:r>
        </a:p>
      </dgm:t>
    </dgm:pt>
    <dgm:pt modelId="{D3E36718-724F-4CA0-84C1-6562CF9C0CB3}" type="parTrans" cxnId="{21D28D1F-C8D0-4FC6-9151-62C8ACEE7912}">
      <dgm:prSet/>
      <dgm:spPr/>
      <dgm:t>
        <a:bodyPr/>
        <a:lstStyle/>
        <a:p>
          <a:endParaRPr lang="fr-FR"/>
        </a:p>
      </dgm:t>
    </dgm:pt>
    <dgm:pt modelId="{504042CD-E81E-44D9-A71A-526158CA9D5F}" type="sibTrans" cxnId="{21D28D1F-C8D0-4FC6-9151-62C8ACEE7912}">
      <dgm:prSet/>
      <dgm:spPr/>
      <dgm:t>
        <a:bodyPr/>
        <a:lstStyle/>
        <a:p>
          <a:endParaRPr lang="fr-FR"/>
        </a:p>
      </dgm:t>
    </dgm:pt>
    <dgm:pt modelId="{9D547671-A8B1-4537-AF21-C277BC75ABA2}" type="pres">
      <dgm:prSet presAssocID="{9AFC2DA3-DFE2-4B18-8CFF-B6C194199D42}" presName="linear" presStyleCnt="0">
        <dgm:presLayoutVars>
          <dgm:dir/>
          <dgm:animLvl val="lvl"/>
          <dgm:resizeHandles val="exact"/>
        </dgm:presLayoutVars>
      </dgm:prSet>
      <dgm:spPr/>
    </dgm:pt>
    <dgm:pt modelId="{33BD160E-5B79-4058-9856-A30599DD472B}" type="pres">
      <dgm:prSet presAssocID="{1848F16E-E15F-4D4B-A54F-DD6C25A47D86}" presName="parentLin" presStyleCnt="0"/>
      <dgm:spPr/>
    </dgm:pt>
    <dgm:pt modelId="{6E5C4812-A682-4345-B7CA-69C18B599508}" type="pres">
      <dgm:prSet presAssocID="{1848F16E-E15F-4D4B-A54F-DD6C25A47D86}" presName="parentLeftMargin" presStyleLbl="node1" presStyleIdx="0" presStyleCnt="3"/>
      <dgm:spPr/>
    </dgm:pt>
    <dgm:pt modelId="{254DA204-28B0-4F4A-AC1B-10AF0F48E56E}" type="pres">
      <dgm:prSet presAssocID="{1848F16E-E15F-4D4B-A54F-DD6C25A47D86}" presName="parentText" presStyleLbl="node1" presStyleIdx="0" presStyleCnt="3">
        <dgm:presLayoutVars>
          <dgm:chMax val="0"/>
          <dgm:bulletEnabled val="1"/>
        </dgm:presLayoutVars>
      </dgm:prSet>
      <dgm:spPr/>
    </dgm:pt>
    <dgm:pt modelId="{336D1B91-CD9D-400D-B5C8-8233728B9C3B}" type="pres">
      <dgm:prSet presAssocID="{1848F16E-E15F-4D4B-A54F-DD6C25A47D86}" presName="negativeSpace" presStyleCnt="0"/>
      <dgm:spPr/>
    </dgm:pt>
    <dgm:pt modelId="{55057C9A-4B2E-4472-94A1-CFDE50B97E94}" type="pres">
      <dgm:prSet presAssocID="{1848F16E-E15F-4D4B-A54F-DD6C25A47D86}" presName="childText" presStyleLbl="conFgAcc1" presStyleIdx="0" presStyleCnt="3">
        <dgm:presLayoutVars>
          <dgm:bulletEnabled val="1"/>
        </dgm:presLayoutVars>
      </dgm:prSet>
      <dgm:spPr/>
    </dgm:pt>
    <dgm:pt modelId="{0768A5A1-0511-48AF-904D-510FEFDE6915}" type="pres">
      <dgm:prSet presAssocID="{EA5755ED-D815-4808-9005-C7AE7F75547F}" presName="spaceBetweenRectangles" presStyleCnt="0"/>
      <dgm:spPr/>
    </dgm:pt>
    <dgm:pt modelId="{C17C2A7C-A701-45B5-8E75-8E48F5503843}" type="pres">
      <dgm:prSet presAssocID="{DD84FB1B-4E1A-4BE1-84AB-F0C4A62A2084}" presName="parentLin" presStyleCnt="0"/>
      <dgm:spPr/>
    </dgm:pt>
    <dgm:pt modelId="{ECAAED41-D372-445B-9F7F-866B3EBA43C3}" type="pres">
      <dgm:prSet presAssocID="{DD84FB1B-4E1A-4BE1-84AB-F0C4A62A2084}" presName="parentLeftMargin" presStyleLbl="node1" presStyleIdx="0" presStyleCnt="3"/>
      <dgm:spPr/>
    </dgm:pt>
    <dgm:pt modelId="{38ADE8E1-5D8C-4244-96DD-C319B773324A}" type="pres">
      <dgm:prSet presAssocID="{DD84FB1B-4E1A-4BE1-84AB-F0C4A62A2084}" presName="parentText" presStyleLbl="node1" presStyleIdx="1" presStyleCnt="3">
        <dgm:presLayoutVars>
          <dgm:chMax val="0"/>
          <dgm:bulletEnabled val="1"/>
        </dgm:presLayoutVars>
      </dgm:prSet>
      <dgm:spPr/>
    </dgm:pt>
    <dgm:pt modelId="{B5EC5B49-81D2-4A97-B8C1-AA66932D4439}" type="pres">
      <dgm:prSet presAssocID="{DD84FB1B-4E1A-4BE1-84AB-F0C4A62A2084}" presName="negativeSpace" presStyleCnt="0"/>
      <dgm:spPr/>
    </dgm:pt>
    <dgm:pt modelId="{ACC3704B-21B2-4B44-802B-6F19D1E389C2}" type="pres">
      <dgm:prSet presAssocID="{DD84FB1B-4E1A-4BE1-84AB-F0C4A62A2084}" presName="childText" presStyleLbl="conFgAcc1" presStyleIdx="1" presStyleCnt="3">
        <dgm:presLayoutVars>
          <dgm:bulletEnabled val="1"/>
        </dgm:presLayoutVars>
      </dgm:prSet>
      <dgm:spPr/>
    </dgm:pt>
    <dgm:pt modelId="{0D07A31E-A290-4DD0-9B42-F066F8DCA736}" type="pres">
      <dgm:prSet presAssocID="{468E49E8-7462-44F4-A332-913DF18C4488}" presName="spaceBetweenRectangles" presStyleCnt="0"/>
      <dgm:spPr/>
    </dgm:pt>
    <dgm:pt modelId="{9581BA0C-C8D2-4BF4-82B2-D2D2813EF99B}" type="pres">
      <dgm:prSet presAssocID="{E2E75E47-CB26-4960-95E2-47CF7BCADE57}" presName="parentLin" presStyleCnt="0"/>
      <dgm:spPr/>
    </dgm:pt>
    <dgm:pt modelId="{FA519E28-6DD3-44A5-BB17-660A03F46119}" type="pres">
      <dgm:prSet presAssocID="{E2E75E47-CB26-4960-95E2-47CF7BCADE57}" presName="parentLeftMargin" presStyleLbl="node1" presStyleIdx="1" presStyleCnt="3"/>
      <dgm:spPr/>
    </dgm:pt>
    <dgm:pt modelId="{3A69236F-4649-4461-B02C-06E57F0BB7A7}" type="pres">
      <dgm:prSet presAssocID="{E2E75E47-CB26-4960-95E2-47CF7BCADE57}" presName="parentText" presStyleLbl="node1" presStyleIdx="2" presStyleCnt="3">
        <dgm:presLayoutVars>
          <dgm:chMax val="0"/>
          <dgm:bulletEnabled val="1"/>
        </dgm:presLayoutVars>
      </dgm:prSet>
      <dgm:spPr/>
    </dgm:pt>
    <dgm:pt modelId="{F561ADFB-D832-4E53-B99C-1DD440F2CAB4}" type="pres">
      <dgm:prSet presAssocID="{E2E75E47-CB26-4960-95E2-47CF7BCADE57}" presName="negativeSpace" presStyleCnt="0"/>
      <dgm:spPr/>
    </dgm:pt>
    <dgm:pt modelId="{9CDD2D92-11EB-418A-9357-2ECBBDD78A04}" type="pres">
      <dgm:prSet presAssocID="{E2E75E47-CB26-4960-95E2-47CF7BCADE57}" presName="childText" presStyleLbl="conFgAcc1" presStyleIdx="2" presStyleCnt="3">
        <dgm:presLayoutVars>
          <dgm:bulletEnabled val="1"/>
        </dgm:presLayoutVars>
      </dgm:prSet>
      <dgm:spPr/>
    </dgm:pt>
  </dgm:ptLst>
  <dgm:cxnLst>
    <dgm:cxn modelId="{CE4BD502-451C-4123-B04D-73E6B1BC0234}" type="presOf" srcId="{1848F16E-E15F-4D4B-A54F-DD6C25A47D86}" destId="{6E5C4812-A682-4345-B7CA-69C18B599508}" srcOrd="0" destOrd="0" presId="urn:microsoft.com/office/officeart/2005/8/layout/list1"/>
    <dgm:cxn modelId="{481BA00B-821E-4556-8CCE-E9F1D9D41BFA}" type="presOf" srcId="{1848F16E-E15F-4D4B-A54F-DD6C25A47D86}" destId="{254DA204-28B0-4F4A-AC1B-10AF0F48E56E}" srcOrd="1" destOrd="0" presId="urn:microsoft.com/office/officeart/2005/8/layout/list1"/>
    <dgm:cxn modelId="{21D28D1F-C8D0-4FC6-9151-62C8ACEE7912}" srcId="{9AFC2DA3-DFE2-4B18-8CFF-B6C194199D42}" destId="{E2E75E47-CB26-4960-95E2-47CF7BCADE57}" srcOrd="2" destOrd="0" parTransId="{D3E36718-724F-4CA0-84C1-6562CF9C0CB3}" sibTransId="{504042CD-E81E-44D9-A71A-526158CA9D5F}"/>
    <dgm:cxn modelId="{81A16F23-B2F7-45A3-B55D-B7EB445AA162}" srcId="{9AFC2DA3-DFE2-4B18-8CFF-B6C194199D42}" destId="{DD84FB1B-4E1A-4BE1-84AB-F0C4A62A2084}" srcOrd="1" destOrd="0" parTransId="{4BF881E6-F60D-48BB-96A3-8BA6839EAFA4}" sibTransId="{468E49E8-7462-44F4-A332-913DF18C4488}"/>
    <dgm:cxn modelId="{7E72C268-0F24-47A9-8921-B6E88034D901}" type="presOf" srcId="{DD84FB1B-4E1A-4BE1-84AB-F0C4A62A2084}" destId="{ECAAED41-D372-445B-9F7F-866B3EBA43C3}" srcOrd="0" destOrd="0" presId="urn:microsoft.com/office/officeart/2005/8/layout/list1"/>
    <dgm:cxn modelId="{9A29E595-C3D8-4F08-9733-D6A1D07523A0}" type="presOf" srcId="{E2E75E47-CB26-4960-95E2-47CF7BCADE57}" destId="{3A69236F-4649-4461-B02C-06E57F0BB7A7}" srcOrd="1" destOrd="0" presId="urn:microsoft.com/office/officeart/2005/8/layout/list1"/>
    <dgm:cxn modelId="{747E359D-7947-4E04-9259-80C7684B8782}" type="presOf" srcId="{E2E75E47-CB26-4960-95E2-47CF7BCADE57}" destId="{FA519E28-6DD3-44A5-BB17-660A03F46119}" srcOrd="0" destOrd="0" presId="urn:microsoft.com/office/officeart/2005/8/layout/list1"/>
    <dgm:cxn modelId="{27AA5EA8-54C6-445F-957F-CAEAE58D9A73}" srcId="{9AFC2DA3-DFE2-4B18-8CFF-B6C194199D42}" destId="{1848F16E-E15F-4D4B-A54F-DD6C25A47D86}" srcOrd="0" destOrd="0" parTransId="{83A05193-ED83-4BA0-B2B6-D970851BB0F5}" sibTransId="{EA5755ED-D815-4808-9005-C7AE7F75547F}"/>
    <dgm:cxn modelId="{B8262FB3-6888-4A72-91AA-4893D5FC4ED3}" type="presOf" srcId="{9AFC2DA3-DFE2-4B18-8CFF-B6C194199D42}" destId="{9D547671-A8B1-4537-AF21-C277BC75ABA2}" srcOrd="0" destOrd="0" presId="urn:microsoft.com/office/officeart/2005/8/layout/list1"/>
    <dgm:cxn modelId="{95790FCD-2313-4485-AF62-84C8CF308DE3}" type="presOf" srcId="{DD84FB1B-4E1A-4BE1-84AB-F0C4A62A2084}" destId="{38ADE8E1-5D8C-4244-96DD-C319B773324A}" srcOrd="1" destOrd="0" presId="urn:microsoft.com/office/officeart/2005/8/layout/list1"/>
    <dgm:cxn modelId="{1B7DF526-4EB9-403A-B343-CBA5C8DCCE75}" type="presParOf" srcId="{9D547671-A8B1-4537-AF21-C277BC75ABA2}" destId="{33BD160E-5B79-4058-9856-A30599DD472B}" srcOrd="0" destOrd="0" presId="urn:microsoft.com/office/officeart/2005/8/layout/list1"/>
    <dgm:cxn modelId="{6A1A3361-DD21-4227-B1FB-F0E1506F3FB8}" type="presParOf" srcId="{33BD160E-5B79-4058-9856-A30599DD472B}" destId="{6E5C4812-A682-4345-B7CA-69C18B599508}" srcOrd="0" destOrd="0" presId="urn:microsoft.com/office/officeart/2005/8/layout/list1"/>
    <dgm:cxn modelId="{99BF1F68-AAB4-49B6-A2CA-7713F600F212}" type="presParOf" srcId="{33BD160E-5B79-4058-9856-A30599DD472B}" destId="{254DA204-28B0-4F4A-AC1B-10AF0F48E56E}" srcOrd="1" destOrd="0" presId="urn:microsoft.com/office/officeart/2005/8/layout/list1"/>
    <dgm:cxn modelId="{9EC29FFE-5328-4653-8C82-23A2028DC163}" type="presParOf" srcId="{9D547671-A8B1-4537-AF21-C277BC75ABA2}" destId="{336D1B91-CD9D-400D-B5C8-8233728B9C3B}" srcOrd="1" destOrd="0" presId="urn:microsoft.com/office/officeart/2005/8/layout/list1"/>
    <dgm:cxn modelId="{AA207BEF-CB1A-4D7D-B902-25F5BC7C5B5A}" type="presParOf" srcId="{9D547671-A8B1-4537-AF21-C277BC75ABA2}" destId="{55057C9A-4B2E-4472-94A1-CFDE50B97E94}" srcOrd="2" destOrd="0" presId="urn:microsoft.com/office/officeart/2005/8/layout/list1"/>
    <dgm:cxn modelId="{922708C3-E505-411C-ACAB-43BD032AC077}" type="presParOf" srcId="{9D547671-A8B1-4537-AF21-C277BC75ABA2}" destId="{0768A5A1-0511-48AF-904D-510FEFDE6915}" srcOrd="3" destOrd="0" presId="urn:microsoft.com/office/officeart/2005/8/layout/list1"/>
    <dgm:cxn modelId="{5BF16C11-5881-4FE1-B6E9-D5A3656974EF}" type="presParOf" srcId="{9D547671-A8B1-4537-AF21-C277BC75ABA2}" destId="{C17C2A7C-A701-45B5-8E75-8E48F5503843}" srcOrd="4" destOrd="0" presId="urn:microsoft.com/office/officeart/2005/8/layout/list1"/>
    <dgm:cxn modelId="{69D69558-FFB9-44C6-8EDB-FBA6E4342254}" type="presParOf" srcId="{C17C2A7C-A701-45B5-8E75-8E48F5503843}" destId="{ECAAED41-D372-445B-9F7F-866B3EBA43C3}" srcOrd="0" destOrd="0" presId="urn:microsoft.com/office/officeart/2005/8/layout/list1"/>
    <dgm:cxn modelId="{24AD488D-3EE3-46A3-AFE5-9286D4CD880B}" type="presParOf" srcId="{C17C2A7C-A701-45B5-8E75-8E48F5503843}" destId="{38ADE8E1-5D8C-4244-96DD-C319B773324A}" srcOrd="1" destOrd="0" presId="urn:microsoft.com/office/officeart/2005/8/layout/list1"/>
    <dgm:cxn modelId="{B4D3CF85-DB42-4E98-83D6-D650C04EB232}" type="presParOf" srcId="{9D547671-A8B1-4537-AF21-C277BC75ABA2}" destId="{B5EC5B49-81D2-4A97-B8C1-AA66932D4439}" srcOrd="5" destOrd="0" presId="urn:microsoft.com/office/officeart/2005/8/layout/list1"/>
    <dgm:cxn modelId="{348685B4-433A-4378-B5A2-D88F8652BCBD}" type="presParOf" srcId="{9D547671-A8B1-4537-AF21-C277BC75ABA2}" destId="{ACC3704B-21B2-4B44-802B-6F19D1E389C2}" srcOrd="6" destOrd="0" presId="urn:microsoft.com/office/officeart/2005/8/layout/list1"/>
    <dgm:cxn modelId="{D5CB235A-5026-402F-8839-B28B128FBC5D}" type="presParOf" srcId="{9D547671-A8B1-4537-AF21-C277BC75ABA2}" destId="{0D07A31E-A290-4DD0-9B42-F066F8DCA736}" srcOrd="7" destOrd="0" presId="urn:microsoft.com/office/officeart/2005/8/layout/list1"/>
    <dgm:cxn modelId="{BD399FF9-D68B-4BCF-9F20-57013F5E3EAB}" type="presParOf" srcId="{9D547671-A8B1-4537-AF21-C277BC75ABA2}" destId="{9581BA0C-C8D2-4BF4-82B2-D2D2813EF99B}" srcOrd="8" destOrd="0" presId="urn:microsoft.com/office/officeart/2005/8/layout/list1"/>
    <dgm:cxn modelId="{2F1068EC-F858-40B2-BF05-1D8DB2364B46}" type="presParOf" srcId="{9581BA0C-C8D2-4BF4-82B2-D2D2813EF99B}" destId="{FA519E28-6DD3-44A5-BB17-660A03F46119}" srcOrd="0" destOrd="0" presId="urn:microsoft.com/office/officeart/2005/8/layout/list1"/>
    <dgm:cxn modelId="{0E213BD3-E845-44D7-A8C1-E6E755A7D90E}" type="presParOf" srcId="{9581BA0C-C8D2-4BF4-82B2-D2D2813EF99B}" destId="{3A69236F-4649-4461-B02C-06E57F0BB7A7}" srcOrd="1" destOrd="0" presId="urn:microsoft.com/office/officeart/2005/8/layout/list1"/>
    <dgm:cxn modelId="{88532596-E440-48A5-8821-63BF7C8D3A76}" type="presParOf" srcId="{9D547671-A8B1-4537-AF21-C277BC75ABA2}" destId="{F561ADFB-D832-4E53-B99C-1DD440F2CAB4}" srcOrd="9" destOrd="0" presId="urn:microsoft.com/office/officeart/2005/8/layout/list1"/>
    <dgm:cxn modelId="{DE25AAB5-C76D-47C1-AF77-AF8D43E2D489}" type="presParOf" srcId="{9D547671-A8B1-4537-AF21-C277BC75ABA2}" destId="{9CDD2D92-11EB-418A-9357-2ECBBDD78A04}" srcOrd="10" destOrd="0" presId="urn:microsoft.com/office/officeart/2005/8/layout/list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A8DCA710-9AD8-487D-A78F-EB2FE6692888}" type="doc">
      <dgm:prSet loTypeId="urn:microsoft.com/office/officeart/2005/8/layout/vList5" loCatId="list" qsTypeId="urn:microsoft.com/office/officeart/2005/8/quickstyle/3d2" qsCatId="3D" csTypeId="urn:microsoft.com/office/officeart/2005/8/colors/colorful1" csCatId="colorful" phldr="1"/>
      <dgm:spPr/>
      <dgm:t>
        <a:bodyPr/>
        <a:lstStyle/>
        <a:p>
          <a:endParaRPr lang="fr-FR"/>
        </a:p>
      </dgm:t>
    </dgm:pt>
    <dgm:pt modelId="{C4931C45-9230-42C7-8F63-311C742D02D6}">
      <dgm:prSet phldrT="[Texte]"/>
      <dgm:spPr/>
      <dgm:t>
        <a:bodyPr/>
        <a:lstStyle/>
        <a:p>
          <a:r>
            <a:rPr lang="fr-FR" b="1" dirty="0"/>
            <a:t>TVA</a:t>
          </a:r>
        </a:p>
      </dgm:t>
    </dgm:pt>
    <dgm:pt modelId="{BC2BA275-12D2-45B1-A6A3-8AC207CADC2F}" type="parTrans" cxnId="{8423B81D-3006-454B-ADDF-9A6338A02B23}">
      <dgm:prSet/>
      <dgm:spPr/>
      <dgm:t>
        <a:bodyPr/>
        <a:lstStyle/>
        <a:p>
          <a:endParaRPr lang="fr-FR" b="1"/>
        </a:p>
      </dgm:t>
    </dgm:pt>
    <dgm:pt modelId="{E9F87131-0D83-417B-A1C9-DBCB9CE35CC7}" type="sibTrans" cxnId="{8423B81D-3006-454B-ADDF-9A6338A02B23}">
      <dgm:prSet/>
      <dgm:spPr/>
      <dgm:t>
        <a:bodyPr/>
        <a:lstStyle/>
        <a:p>
          <a:endParaRPr lang="fr-FR" b="1"/>
        </a:p>
      </dgm:t>
    </dgm:pt>
    <dgm:pt modelId="{8FFC4A4B-D7F5-4E55-83B5-54CCE2FD1458}">
      <dgm:prSet phldrT="[Texte]"/>
      <dgm:spPr/>
      <dgm:t>
        <a:bodyPr/>
        <a:lstStyle/>
        <a:p>
          <a:r>
            <a:rPr lang="fr-FR" b="1" dirty="0"/>
            <a:t>Taxe sur la valeur ajoutée</a:t>
          </a:r>
        </a:p>
      </dgm:t>
    </dgm:pt>
    <dgm:pt modelId="{9C832D7D-1195-4ED7-B26A-100767324D0E}" type="parTrans" cxnId="{9132F9C1-3CD1-43C9-BEC3-D97E7062F774}">
      <dgm:prSet/>
      <dgm:spPr/>
      <dgm:t>
        <a:bodyPr/>
        <a:lstStyle/>
        <a:p>
          <a:endParaRPr lang="fr-FR" b="1"/>
        </a:p>
      </dgm:t>
    </dgm:pt>
    <dgm:pt modelId="{9EE3EA5B-B9F0-42FA-BB45-36C12A1071F7}" type="sibTrans" cxnId="{9132F9C1-3CD1-43C9-BEC3-D97E7062F774}">
      <dgm:prSet/>
      <dgm:spPr/>
      <dgm:t>
        <a:bodyPr/>
        <a:lstStyle/>
        <a:p>
          <a:endParaRPr lang="fr-FR" b="1"/>
        </a:p>
      </dgm:t>
    </dgm:pt>
    <dgm:pt modelId="{D44573C7-0823-4A55-A932-2418606E6514}">
      <dgm:prSet phldrT="[Texte]"/>
      <dgm:spPr/>
      <dgm:t>
        <a:bodyPr/>
        <a:lstStyle/>
        <a:p>
          <a:r>
            <a:rPr lang="fr-FR" b="1" dirty="0"/>
            <a:t>Assujetti</a:t>
          </a:r>
        </a:p>
      </dgm:t>
    </dgm:pt>
    <dgm:pt modelId="{20755DAB-206A-4002-9725-5984AC7B0EC2}" type="parTrans" cxnId="{41112F4C-5408-4424-A584-9585EB9A3E26}">
      <dgm:prSet/>
      <dgm:spPr/>
      <dgm:t>
        <a:bodyPr/>
        <a:lstStyle/>
        <a:p>
          <a:endParaRPr lang="fr-FR" b="1"/>
        </a:p>
      </dgm:t>
    </dgm:pt>
    <dgm:pt modelId="{130D5AB2-F246-44D0-91DC-D15F3D107220}" type="sibTrans" cxnId="{41112F4C-5408-4424-A584-9585EB9A3E26}">
      <dgm:prSet/>
      <dgm:spPr/>
      <dgm:t>
        <a:bodyPr/>
        <a:lstStyle/>
        <a:p>
          <a:endParaRPr lang="fr-FR" b="1"/>
        </a:p>
      </dgm:t>
    </dgm:pt>
    <dgm:pt modelId="{2AD8305E-093E-4D56-A7B4-C87D92BDB72B}">
      <dgm:prSet phldrT="[Texte]"/>
      <dgm:spPr/>
      <dgm:t>
        <a:bodyPr/>
        <a:lstStyle/>
        <a:p>
          <a:r>
            <a:rPr lang="fr-FR" b="1" dirty="0"/>
            <a:t>TVA collectée</a:t>
          </a:r>
        </a:p>
      </dgm:t>
    </dgm:pt>
    <dgm:pt modelId="{48AC2631-B1BE-42F5-81E4-5415CFEA9F7A}" type="parTrans" cxnId="{E78D4962-EC8B-4E5C-A9F1-5DFB86EA3026}">
      <dgm:prSet/>
      <dgm:spPr/>
      <dgm:t>
        <a:bodyPr/>
        <a:lstStyle/>
        <a:p>
          <a:endParaRPr lang="fr-FR" b="1"/>
        </a:p>
      </dgm:t>
    </dgm:pt>
    <dgm:pt modelId="{29360A43-8978-48E4-BFD4-9741BD5D806B}" type="sibTrans" cxnId="{E78D4962-EC8B-4E5C-A9F1-5DFB86EA3026}">
      <dgm:prSet/>
      <dgm:spPr/>
      <dgm:t>
        <a:bodyPr/>
        <a:lstStyle/>
        <a:p>
          <a:endParaRPr lang="fr-FR" b="1"/>
        </a:p>
      </dgm:t>
    </dgm:pt>
    <dgm:pt modelId="{B7C26F3F-8BDF-4376-BB16-C057F4072F03}">
      <dgm:prSet/>
      <dgm:spPr/>
      <dgm:t>
        <a:bodyPr/>
        <a:lstStyle/>
        <a:p>
          <a:r>
            <a:rPr lang="fr-FR" b="1" dirty="0"/>
            <a:t>Personne imposable en matière de TVA</a:t>
          </a:r>
        </a:p>
      </dgm:t>
    </dgm:pt>
    <dgm:pt modelId="{748DF5FC-8EB1-444D-9458-5846F7203221}" type="parTrans" cxnId="{6BA4F80D-5879-46E5-B895-4AE771C8ACC5}">
      <dgm:prSet/>
      <dgm:spPr/>
      <dgm:t>
        <a:bodyPr/>
        <a:lstStyle/>
        <a:p>
          <a:endParaRPr lang="fr-FR" b="1"/>
        </a:p>
      </dgm:t>
    </dgm:pt>
    <dgm:pt modelId="{BDFC6A5A-A684-49F1-A6FC-BC124926B62F}" type="sibTrans" cxnId="{6BA4F80D-5879-46E5-B895-4AE771C8ACC5}">
      <dgm:prSet/>
      <dgm:spPr/>
      <dgm:t>
        <a:bodyPr/>
        <a:lstStyle/>
        <a:p>
          <a:endParaRPr lang="fr-FR" b="1"/>
        </a:p>
      </dgm:t>
    </dgm:pt>
    <dgm:pt modelId="{C6FA4DC6-95C2-4AA3-84BA-C5A5A4A820EE}">
      <dgm:prSet phldrT="[Texte]"/>
      <dgm:spPr/>
      <dgm:t>
        <a:bodyPr/>
        <a:lstStyle/>
        <a:p>
          <a:r>
            <a:rPr lang="fr-FR" b="1" dirty="0"/>
            <a:t>TVA déductible</a:t>
          </a:r>
        </a:p>
      </dgm:t>
    </dgm:pt>
    <dgm:pt modelId="{F05A63F1-C15B-4640-B0AC-F3FC2C791A41}" type="parTrans" cxnId="{C8DECA2B-734A-4845-AE2C-19ADEAA3801A}">
      <dgm:prSet/>
      <dgm:spPr/>
      <dgm:t>
        <a:bodyPr/>
        <a:lstStyle/>
        <a:p>
          <a:endParaRPr lang="fr-FR" b="1"/>
        </a:p>
      </dgm:t>
    </dgm:pt>
    <dgm:pt modelId="{E0916A44-490C-4E80-B360-08416112DACA}" type="sibTrans" cxnId="{C8DECA2B-734A-4845-AE2C-19ADEAA3801A}">
      <dgm:prSet/>
      <dgm:spPr/>
      <dgm:t>
        <a:bodyPr/>
        <a:lstStyle/>
        <a:p>
          <a:endParaRPr lang="fr-FR" b="1"/>
        </a:p>
      </dgm:t>
    </dgm:pt>
    <dgm:pt modelId="{CDC62464-00ED-4C73-94BA-B56ADD96446C}">
      <dgm:prSet phldrT="[Texte]"/>
      <dgm:spPr/>
      <dgm:t>
        <a:bodyPr/>
        <a:lstStyle/>
        <a:p>
          <a:r>
            <a:rPr lang="fr-FR" b="1" dirty="0"/>
            <a:t>TVA encaissée par un assujetti lors d’une vente</a:t>
          </a:r>
        </a:p>
      </dgm:t>
    </dgm:pt>
    <dgm:pt modelId="{5DA438FA-757F-465C-88B6-04B713623744}" type="parTrans" cxnId="{EA4D519C-B7ED-42C1-B12A-CB4A19B335D3}">
      <dgm:prSet/>
      <dgm:spPr/>
      <dgm:t>
        <a:bodyPr/>
        <a:lstStyle/>
        <a:p>
          <a:endParaRPr lang="fr-FR" b="1"/>
        </a:p>
      </dgm:t>
    </dgm:pt>
    <dgm:pt modelId="{627F6792-97EF-460E-B08F-E261FFAC1A2D}" type="sibTrans" cxnId="{EA4D519C-B7ED-42C1-B12A-CB4A19B335D3}">
      <dgm:prSet/>
      <dgm:spPr/>
      <dgm:t>
        <a:bodyPr/>
        <a:lstStyle/>
        <a:p>
          <a:endParaRPr lang="fr-FR" b="1"/>
        </a:p>
      </dgm:t>
    </dgm:pt>
    <dgm:pt modelId="{F75A6938-AAC3-4954-9FD6-0AE88F0BDE42}">
      <dgm:prSet phldrT="[Texte]"/>
      <dgm:spPr/>
      <dgm:t>
        <a:bodyPr/>
        <a:lstStyle/>
        <a:p>
          <a:r>
            <a:rPr lang="fr-FR" b="1" dirty="0"/>
            <a:t>TVA payée par un assujetti lors d’un achat</a:t>
          </a:r>
        </a:p>
      </dgm:t>
    </dgm:pt>
    <dgm:pt modelId="{4059376E-B841-4032-B3D0-F99B283DD24D}" type="parTrans" cxnId="{9EEDDB12-73DB-4571-B9F1-BE1B55EC3C7D}">
      <dgm:prSet/>
      <dgm:spPr/>
      <dgm:t>
        <a:bodyPr/>
        <a:lstStyle/>
        <a:p>
          <a:endParaRPr lang="fr-FR" b="1"/>
        </a:p>
      </dgm:t>
    </dgm:pt>
    <dgm:pt modelId="{218717B6-40EA-4E8A-91C1-64663C185F17}" type="sibTrans" cxnId="{9EEDDB12-73DB-4571-B9F1-BE1B55EC3C7D}">
      <dgm:prSet/>
      <dgm:spPr/>
      <dgm:t>
        <a:bodyPr/>
        <a:lstStyle/>
        <a:p>
          <a:endParaRPr lang="fr-FR" b="1"/>
        </a:p>
      </dgm:t>
    </dgm:pt>
    <dgm:pt modelId="{05EEE3F4-129E-4BB7-BDE4-1C1125A43002}">
      <dgm:prSet phldrT="[Texte]"/>
      <dgm:spPr/>
      <dgm:t>
        <a:bodyPr/>
        <a:lstStyle/>
        <a:p>
          <a:r>
            <a:rPr lang="fr-FR" b="1" dirty="0"/>
            <a:t>TVA à décaisser</a:t>
          </a:r>
        </a:p>
      </dgm:t>
    </dgm:pt>
    <dgm:pt modelId="{9558722C-9D52-413C-88AD-7886940F525E}" type="parTrans" cxnId="{7B33412D-6030-45B9-9CC2-95978B03E620}">
      <dgm:prSet/>
      <dgm:spPr/>
      <dgm:t>
        <a:bodyPr/>
        <a:lstStyle/>
        <a:p>
          <a:endParaRPr lang="fr-FR" b="1"/>
        </a:p>
      </dgm:t>
    </dgm:pt>
    <dgm:pt modelId="{3B454020-B1E0-47EE-8303-486447264007}" type="sibTrans" cxnId="{7B33412D-6030-45B9-9CC2-95978B03E620}">
      <dgm:prSet/>
      <dgm:spPr/>
      <dgm:t>
        <a:bodyPr/>
        <a:lstStyle/>
        <a:p>
          <a:endParaRPr lang="fr-FR" b="1"/>
        </a:p>
      </dgm:t>
    </dgm:pt>
    <dgm:pt modelId="{C9880357-E606-4FDF-8CB2-DE3492DE996A}">
      <dgm:prSet phldrT="[Texte]"/>
      <dgm:spPr/>
      <dgm:t>
        <a:bodyPr/>
        <a:lstStyle/>
        <a:p>
          <a:r>
            <a:rPr lang="fr-FR" b="1" dirty="0"/>
            <a:t>TVA collectée – TVA déductible</a:t>
          </a:r>
        </a:p>
      </dgm:t>
    </dgm:pt>
    <dgm:pt modelId="{17D24D8C-A893-4F30-A995-F6DE97A4C325}" type="parTrans" cxnId="{EE8D392B-58C6-4F32-94CD-A96A366FEC0E}">
      <dgm:prSet/>
      <dgm:spPr/>
      <dgm:t>
        <a:bodyPr/>
        <a:lstStyle/>
        <a:p>
          <a:endParaRPr lang="fr-FR" b="1"/>
        </a:p>
      </dgm:t>
    </dgm:pt>
    <dgm:pt modelId="{72F1CFF6-2BDD-4C6F-A60F-649AA3A2E485}" type="sibTrans" cxnId="{EE8D392B-58C6-4F32-94CD-A96A366FEC0E}">
      <dgm:prSet/>
      <dgm:spPr/>
      <dgm:t>
        <a:bodyPr/>
        <a:lstStyle/>
        <a:p>
          <a:endParaRPr lang="fr-FR" b="1"/>
        </a:p>
      </dgm:t>
    </dgm:pt>
    <dgm:pt modelId="{4308492F-EA5B-4A51-A162-01D6810AC3AD}" type="pres">
      <dgm:prSet presAssocID="{A8DCA710-9AD8-487D-A78F-EB2FE6692888}" presName="Name0" presStyleCnt="0">
        <dgm:presLayoutVars>
          <dgm:dir/>
          <dgm:animLvl val="lvl"/>
          <dgm:resizeHandles val="exact"/>
        </dgm:presLayoutVars>
      </dgm:prSet>
      <dgm:spPr/>
    </dgm:pt>
    <dgm:pt modelId="{A8A83914-75C7-4A35-96F8-AE6F286DDB99}" type="pres">
      <dgm:prSet presAssocID="{C4931C45-9230-42C7-8F63-311C742D02D6}" presName="linNode" presStyleCnt="0"/>
      <dgm:spPr/>
    </dgm:pt>
    <dgm:pt modelId="{250DF100-6CBA-4F3E-A1A0-CAB046AC3603}" type="pres">
      <dgm:prSet presAssocID="{C4931C45-9230-42C7-8F63-311C742D02D6}" presName="parentText" presStyleLbl="node1" presStyleIdx="0" presStyleCnt="5">
        <dgm:presLayoutVars>
          <dgm:chMax val="1"/>
          <dgm:bulletEnabled val="1"/>
        </dgm:presLayoutVars>
      </dgm:prSet>
      <dgm:spPr/>
    </dgm:pt>
    <dgm:pt modelId="{A6CEEC18-277E-4D60-99A9-2F4AF108EB83}" type="pres">
      <dgm:prSet presAssocID="{C4931C45-9230-42C7-8F63-311C742D02D6}" presName="descendantText" presStyleLbl="alignAccFollowNode1" presStyleIdx="0" presStyleCnt="5">
        <dgm:presLayoutVars>
          <dgm:bulletEnabled val="1"/>
        </dgm:presLayoutVars>
      </dgm:prSet>
      <dgm:spPr/>
    </dgm:pt>
    <dgm:pt modelId="{B4133516-0D2E-4D12-B7F1-AC5E580E3497}" type="pres">
      <dgm:prSet presAssocID="{E9F87131-0D83-417B-A1C9-DBCB9CE35CC7}" presName="sp" presStyleCnt="0"/>
      <dgm:spPr/>
    </dgm:pt>
    <dgm:pt modelId="{350233E5-FB62-4C96-A9F9-D8F5E0DBD0AF}" type="pres">
      <dgm:prSet presAssocID="{D44573C7-0823-4A55-A932-2418606E6514}" presName="linNode" presStyleCnt="0"/>
      <dgm:spPr/>
    </dgm:pt>
    <dgm:pt modelId="{564E2EEF-B547-4254-BA6A-728D07B2A2CA}" type="pres">
      <dgm:prSet presAssocID="{D44573C7-0823-4A55-A932-2418606E6514}" presName="parentText" presStyleLbl="node1" presStyleIdx="1" presStyleCnt="5">
        <dgm:presLayoutVars>
          <dgm:chMax val="1"/>
          <dgm:bulletEnabled val="1"/>
        </dgm:presLayoutVars>
      </dgm:prSet>
      <dgm:spPr/>
    </dgm:pt>
    <dgm:pt modelId="{442813C6-26AD-426C-B935-825D70FC658A}" type="pres">
      <dgm:prSet presAssocID="{D44573C7-0823-4A55-A932-2418606E6514}" presName="descendantText" presStyleLbl="alignAccFollowNode1" presStyleIdx="1" presStyleCnt="5">
        <dgm:presLayoutVars>
          <dgm:bulletEnabled val="1"/>
        </dgm:presLayoutVars>
      </dgm:prSet>
      <dgm:spPr/>
    </dgm:pt>
    <dgm:pt modelId="{534E34B7-96BF-457F-BF66-B8F023AE9E89}" type="pres">
      <dgm:prSet presAssocID="{130D5AB2-F246-44D0-91DC-D15F3D107220}" presName="sp" presStyleCnt="0"/>
      <dgm:spPr/>
    </dgm:pt>
    <dgm:pt modelId="{2E9547BD-176E-48A5-826E-AC2A48E4A431}" type="pres">
      <dgm:prSet presAssocID="{2AD8305E-093E-4D56-A7B4-C87D92BDB72B}" presName="linNode" presStyleCnt="0"/>
      <dgm:spPr/>
    </dgm:pt>
    <dgm:pt modelId="{90933AB5-231A-4325-87E3-D057F3D598A6}" type="pres">
      <dgm:prSet presAssocID="{2AD8305E-093E-4D56-A7B4-C87D92BDB72B}" presName="parentText" presStyleLbl="node1" presStyleIdx="2" presStyleCnt="5">
        <dgm:presLayoutVars>
          <dgm:chMax val="1"/>
          <dgm:bulletEnabled val="1"/>
        </dgm:presLayoutVars>
      </dgm:prSet>
      <dgm:spPr/>
    </dgm:pt>
    <dgm:pt modelId="{87789FC3-6358-435F-8FB1-9C3D59222CAD}" type="pres">
      <dgm:prSet presAssocID="{2AD8305E-093E-4D56-A7B4-C87D92BDB72B}" presName="descendantText" presStyleLbl="alignAccFollowNode1" presStyleIdx="2" presStyleCnt="5">
        <dgm:presLayoutVars>
          <dgm:bulletEnabled val="1"/>
        </dgm:presLayoutVars>
      </dgm:prSet>
      <dgm:spPr/>
    </dgm:pt>
    <dgm:pt modelId="{FD636E4D-91F4-4560-994F-F2129BBFAC42}" type="pres">
      <dgm:prSet presAssocID="{29360A43-8978-48E4-BFD4-9741BD5D806B}" presName="sp" presStyleCnt="0"/>
      <dgm:spPr/>
    </dgm:pt>
    <dgm:pt modelId="{6A604573-17BE-4A93-8215-ABB2B70DFCD0}" type="pres">
      <dgm:prSet presAssocID="{C6FA4DC6-95C2-4AA3-84BA-C5A5A4A820EE}" presName="linNode" presStyleCnt="0"/>
      <dgm:spPr/>
    </dgm:pt>
    <dgm:pt modelId="{EC94EA1D-1196-487C-8BCD-2C8F732400A6}" type="pres">
      <dgm:prSet presAssocID="{C6FA4DC6-95C2-4AA3-84BA-C5A5A4A820EE}" presName="parentText" presStyleLbl="node1" presStyleIdx="3" presStyleCnt="5">
        <dgm:presLayoutVars>
          <dgm:chMax val="1"/>
          <dgm:bulletEnabled val="1"/>
        </dgm:presLayoutVars>
      </dgm:prSet>
      <dgm:spPr/>
    </dgm:pt>
    <dgm:pt modelId="{632D6F6A-1B3F-4A77-96EA-DCF243119693}" type="pres">
      <dgm:prSet presAssocID="{C6FA4DC6-95C2-4AA3-84BA-C5A5A4A820EE}" presName="descendantText" presStyleLbl="alignAccFollowNode1" presStyleIdx="3" presStyleCnt="5">
        <dgm:presLayoutVars>
          <dgm:bulletEnabled val="1"/>
        </dgm:presLayoutVars>
      </dgm:prSet>
      <dgm:spPr/>
    </dgm:pt>
    <dgm:pt modelId="{0E6CA696-A1A9-4800-BF8A-5E98E3DB96B3}" type="pres">
      <dgm:prSet presAssocID="{E0916A44-490C-4E80-B360-08416112DACA}" presName="sp" presStyleCnt="0"/>
      <dgm:spPr/>
    </dgm:pt>
    <dgm:pt modelId="{AA9F56BE-331C-4342-833A-07EAB3D39AF2}" type="pres">
      <dgm:prSet presAssocID="{05EEE3F4-129E-4BB7-BDE4-1C1125A43002}" presName="linNode" presStyleCnt="0"/>
      <dgm:spPr/>
    </dgm:pt>
    <dgm:pt modelId="{33BA15D6-3839-4086-825D-9C1E6CA67B35}" type="pres">
      <dgm:prSet presAssocID="{05EEE3F4-129E-4BB7-BDE4-1C1125A43002}" presName="parentText" presStyleLbl="node1" presStyleIdx="4" presStyleCnt="5">
        <dgm:presLayoutVars>
          <dgm:chMax val="1"/>
          <dgm:bulletEnabled val="1"/>
        </dgm:presLayoutVars>
      </dgm:prSet>
      <dgm:spPr/>
    </dgm:pt>
    <dgm:pt modelId="{87965EE2-DBC4-4893-8519-F0D0B02A6929}" type="pres">
      <dgm:prSet presAssocID="{05EEE3F4-129E-4BB7-BDE4-1C1125A43002}" presName="descendantText" presStyleLbl="alignAccFollowNode1" presStyleIdx="4" presStyleCnt="5">
        <dgm:presLayoutVars>
          <dgm:bulletEnabled val="1"/>
        </dgm:presLayoutVars>
      </dgm:prSet>
      <dgm:spPr/>
    </dgm:pt>
  </dgm:ptLst>
  <dgm:cxnLst>
    <dgm:cxn modelId="{6BA4F80D-5879-46E5-B895-4AE771C8ACC5}" srcId="{D44573C7-0823-4A55-A932-2418606E6514}" destId="{B7C26F3F-8BDF-4376-BB16-C057F4072F03}" srcOrd="0" destOrd="0" parTransId="{748DF5FC-8EB1-444D-9458-5846F7203221}" sibTransId="{BDFC6A5A-A684-49F1-A6FC-BC124926B62F}"/>
    <dgm:cxn modelId="{9EEDDB12-73DB-4571-B9F1-BE1B55EC3C7D}" srcId="{C6FA4DC6-95C2-4AA3-84BA-C5A5A4A820EE}" destId="{F75A6938-AAC3-4954-9FD6-0AE88F0BDE42}" srcOrd="0" destOrd="0" parTransId="{4059376E-B841-4032-B3D0-F99B283DD24D}" sibTransId="{218717B6-40EA-4E8A-91C1-64663C185F17}"/>
    <dgm:cxn modelId="{8423B81D-3006-454B-ADDF-9A6338A02B23}" srcId="{A8DCA710-9AD8-487D-A78F-EB2FE6692888}" destId="{C4931C45-9230-42C7-8F63-311C742D02D6}" srcOrd="0" destOrd="0" parTransId="{BC2BA275-12D2-45B1-A6A3-8AC207CADC2F}" sibTransId="{E9F87131-0D83-417B-A1C9-DBCB9CE35CC7}"/>
    <dgm:cxn modelId="{2EAF912A-A7FF-4C85-854A-5647A1A3B9F3}" type="presOf" srcId="{C6FA4DC6-95C2-4AA3-84BA-C5A5A4A820EE}" destId="{EC94EA1D-1196-487C-8BCD-2C8F732400A6}" srcOrd="0" destOrd="0" presId="urn:microsoft.com/office/officeart/2005/8/layout/vList5"/>
    <dgm:cxn modelId="{EE8D392B-58C6-4F32-94CD-A96A366FEC0E}" srcId="{05EEE3F4-129E-4BB7-BDE4-1C1125A43002}" destId="{C9880357-E606-4FDF-8CB2-DE3492DE996A}" srcOrd="0" destOrd="0" parTransId="{17D24D8C-A893-4F30-A995-F6DE97A4C325}" sibTransId="{72F1CFF6-2BDD-4C6F-A60F-649AA3A2E485}"/>
    <dgm:cxn modelId="{C8DECA2B-734A-4845-AE2C-19ADEAA3801A}" srcId="{A8DCA710-9AD8-487D-A78F-EB2FE6692888}" destId="{C6FA4DC6-95C2-4AA3-84BA-C5A5A4A820EE}" srcOrd="3" destOrd="0" parTransId="{F05A63F1-C15B-4640-B0AC-F3FC2C791A41}" sibTransId="{E0916A44-490C-4E80-B360-08416112DACA}"/>
    <dgm:cxn modelId="{7B33412D-6030-45B9-9CC2-95978B03E620}" srcId="{A8DCA710-9AD8-487D-A78F-EB2FE6692888}" destId="{05EEE3F4-129E-4BB7-BDE4-1C1125A43002}" srcOrd="4" destOrd="0" parTransId="{9558722C-9D52-413C-88AD-7886940F525E}" sibTransId="{3B454020-B1E0-47EE-8303-486447264007}"/>
    <dgm:cxn modelId="{CEC09937-2084-445F-8436-C08B16D7FA08}" type="presOf" srcId="{05EEE3F4-129E-4BB7-BDE4-1C1125A43002}" destId="{33BA15D6-3839-4086-825D-9C1E6CA67B35}" srcOrd="0" destOrd="0" presId="urn:microsoft.com/office/officeart/2005/8/layout/vList5"/>
    <dgm:cxn modelId="{B915965E-C251-4770-AFAE-B649E3678389}" type="presOf" srcId="{C4931C45-9230-42C7-8F63-311C742D02D6}" destId="{250DF100-6CBA-4F3E-A1A0-CAB046AC3603}" srcOrd="0" destOrd="0" presId="urn:microsoft.com/office/officeart/2005/8/layout/vList5"/>
    <dgm:cxn modelId="{E78D4962-EC8B-4E5C-A9F1-5DFB86EA3026}" srcId="{A8DCA710-9AD8-487D-A78F-EB2FE6692888}" destId="{2AD8305E-093E-4D56-A7B4-C87D92BDB72B}" srcOrd="2" destOrd="0" parTransId="{48AC2631-B1BE-42F5-81E4-5415CFEA9F7A}" sibTransId="{29360A43-8978-48E4-BFD4-9741BD5D806B}"/>
    <dgm:cxn modelId="{41112F4C-5408-4424-A584-9585EB9A3E26}" srcId="{A8DCA710-9AD8-487D-A78F-EB2FE6692888}" destId="{D44573C7-0823-4A55-A932-2418606E6514}" srcOrd="1" destOrd="0" parTransId="{20755DAB-206A-4002-9725-5984AC7B0EC2}" sibTransId="{130D5AB2-F246-44D0-91DC-D15F3D107220}"/>
    <dgm:cxn modelId="{90702A52-5DFA-4BE8-B83D-8F756A7F0434}" type="presOf" srcId="{F75A6938-AAC3-4954-9FD6-0AE88F0BDE42}" destId="{632D6F6A-1B3F-4A77-96EA-DCF243119693}" srcOrd="0" destOrd="0" presId="urn:microsoft.com/office/officeart/2005/8/layout/vList5"/>
    <dgm:cxn modelId="{EA4D519C-B7ED-42C1-B12A-CB4A19B335D3}" srcId="{2AD8305E-093E-4D56-A7B4-C87D92BDB72B}" destId="{CDC62464-00ED-4C73-94BA-B56ADD96446C}" srcOrd="0" destOrd="0" parTransId="{5DA438FA-757F-465C-88B6-04B713623744}" sibTransId="{627F6792-97EF-460E-B08F-E261FFAC1A2D}"/>
    <dgm:cxn modelId="{7DC4C59C-E0E4-41D0-8726-9F171CCB7358}" type="presOf" srcId="{D44573C7-0823-4A55-A932-2418606E6514}" destId="{564E2EEF-B547-4254-BA6A-728D07B2A2CA}" srcOrd="0" destOrd="0" presId="urn:microsoft.com/office/officeart/2005/8/layout/vList5"/>
    <dgm:cxn modelId="{27518A9E-699D-40A6-B2FA-810BE8AF0897}" type="presOf" srcId="{2AD8305E-093E-4D56-A7B4-C87D92BDB72B}" destId="{90933AB5-231A-4325-87E3-D057F3D598A6}" srcOrd="0" destOrd="0" presId="urn:microsoft.com/office/officeart/2005/8/layout/vList5"/>
    <dgm:cxn modelId="{979401B3-A28E-45D7-A36D-BB0A5B0A0247}" type="presOf" srcId="{A8DCA710-9AD8-487D-A78F-EB2FE6692888}" destId="{4308492F-EA5B-4A51-A162-01D6810AC3AD}" srcOrd="0" destOrd="0" presId="urn:microsoft.com/office/officeart/2005/8/layout/vList5"/>
    <dgm:cxn modelId="{A5F2EBB3-FDCA-4009-A65C-CB556AE16DB1}" type="presOf" srcId="{C9880357-E606-4FDF-8CB2-DE3492DE996A}" destId="{87965EE2-DBC4-4893-8519-F0D0B02A6929}" srcOrd="0" destOrd="0" presId="urn:microsoft.com/office/officeart/2005/8/layout/vList5"/>
    <dgm:cxn modelId="{9132F9C1-3CD1-43C9-BEC3-D97E7062F774}" srcId="{C4931C45-9230-42C7-8F63-311C742D02D6}" destId="{8FFC4A4B-D7F5-4E55-83B5-54CCE2FD1458}" srcOrd="0" destOrd="0" parTransId="{9C832D7D-1195-4ED7-B26A-100767324D0E}" sibTransId="{9EE3EA5B-B9F0-42FA-BB45-36C12A1071F7}"/>
    <dgm:cxn modelId="{4E1B95D1-EF95-4DB2-95A1-4F8EA593A8A9}" type="presOf" srcId="{B7C26F3F-8BDF-4376-BB16-C057F4072F03}" destId="{442813C6-26AD-426C-B935-825D70FC658A}" srcOrd="0" destOrd="0" presId="urn:microsoft.com/office/officeart/2005/8/layout/vList5"/>
    <dgm:cxn modelId="{B95A6FE1-574E-48DA-86C3-63D37081C077}" type="presOf" srcId="{CDC62464-00ED-4C73-94BA-B56ADD96446C}" destId="{87789FC3-6358-435F-8FB1-9C3D59222CAD}" srcOrd="0" destOrd="0" presId="urn:microsoft.com/office/officeart/2005/8/layout/vList5"/>
    <dgm:cxn modelId="{1EB4B0FE-FD7E-4FA2-92A9-B1DA33C66AE5}" type="presOf" srcId="{8FFC4A4B-D7F5-4E55-83B5-54CCE2FD1458}" destId="{A6CEEC18-277E-4D60-99A9-2F4AF108EB83}" srcOrd="0" destOrd="0" presId="urn:microsoft.com/office/officeart/2005/8/layout/vList5"/>
    <dgm:cxn modelId="{280B4AE1-CB07-4B73-8E8C-81093FF5AD10}" type="presParOf" srcId="{4308492F-EA5B-4A51-A162-01D6810AC3AD}" destId="{A8A83914-75C7-4A35-96F8-AE6F286DDB99}" srcOrd="0" destOrd="0" presId="urn:microsoft.com/office/officeart/2005/8/layout/vList5"/>
    <dgm:cxn modelId="{60C9E8FD-34A6-4F31-8859-6B6BA4705F87}" type="presParOf" srcId="{A8A83914-75C7-4A35-96F8-AE6F286DDB99}" destId="{250DF100-6CBA-4F3E-A1A0-CAB046AC3603}" srcOrd="0" destOrd="0" presId="urn:microsoft.com/office/officeart/2005/8/layout/vList5"/>
    <dgm:cxn modelId="{5C9A733E-F038-4BC9-9BC5-97E097E48799}" type="presParOf" srcId="{A8A83914-75C7-4A35-96F8-AE6F286DDB99}" destId="{A6CEEC18-277E-4D60-99A9-2F4AF108EB83}" srcOrd="1" destOrd="0" presId="urn:microsoft.com/office/officeart/2005/8/layout/vList5"/>
    <dgm:cxn modelId="{720CA832-DF07-4BA6-8185-17242AF695B3}" type="presParOf" srcId="{4308492F-EA5B-4A51-A162-01D6810AC3AD}" destId="{B4133516-0D2E-4D12-B7F1-AC5E580E3497}" srcOrd="1" destOrd="0" presId="urn:microsoft.com/office/officeart/2005/8/layout/vList5"/>
    <dgm:cxn modelId="{A8713195-ED39-44BB-86BC-5D417B96BB62}" type="presParOf" srcId="{4308492F-EA5B-4A51-A162-01D6810AC3AD}" destId="{350233E5-FB62-4C96-A9F9-D8F5E0DBD0AF}" srcOrd="2" destOrd="0" presId="urn:microsoft.com/office/officeart/2005/8/layout/vList5"/>
    <dgm:cxn modelId="{BE1FC9E2-2D3A-498C-80FA-2D4AEBE10854}" type="presParOf" srcId="{350233E5-FB62-4C96-A9F9-D8F5E0DBD0AF}" destId="{564E2EEF-B547-4254-BA6A-728D07B2A2CA}" srcOrd="0" destOrd="0" presId="urn:microsoft.com/office/officeart/2005/8/layout/vList5"/>
    <dgm:cxn modelId="{106378E4-E036-46EA-9043-E111297E7C90}" type="presParOf" srcId="{350233E5-FB62-4C96-A9F9-D8F5E0DBD0AF}" destId="{442813C6-26AD-426C-B935-825D70FC658A}" srcOrd="1" destOrd="0" presId="urn:microsoft.com/office/officeart/2005/8/layout/vList5"/>
    <dgm:cxn modelId="{34432AD6-354B-432D-B6F9-31B5B33659C6}" type="presParOf" srcId="{4308492F-EA5B-4A51-A162-01D6810AC3AD}" destId="{534E34B7-96BF-457F-BF66-B8F023AE9E89}" srcOrd="3" destOrd="0" presId="urn:microsoft.com/office/officeart/2005/8/layout/vList5"/>
    <dgm:cxn modelId="{5404E6EE-8108-4B75-B933-8B61EC489EC2}" type="presParOf" srcId="{4308492F-EA5B-4A51-A162-01D6810AC3AD}" destId="{2E9547BD-176E-48A5-826E-AC2A48E4A431}" srcOrd="4" destOrd="0" presId="urn:microsoft.com/office/officeart/2005/8/layout/vList5"/>
    <dgm:cxn modelId="{C3016645-610D-4810-914D-F23D87027014}" type="presParOf" srcId="{2E9547BD-176E-48A5-826E-AC2A48E4A431}" destId="{90933AB5-231A-4325-87E3-D057F3D598A6}" srcOrd="0" destOrd="0" presId="urn:microsoft.com/office/officeart/2005/8/layout/vList5"/>
    <dgm:cxn modelId="{4E342099-8F60-423F-9F5F-E37254B724A3}" type="presParOf" srcId="{2E9547BD-176E-48A5-826E-AC2A48E4A431}" destId="{87789FC3-6358-435F-8FB1-9C3D59222CAD}" srcOrd="1" destOrd="0" presId="urn:microsoft.com/office/officeart/2005/8/layout/vList5"/>
    <dgm:cxn modelId="{4DA4CEE9-7AE2-4B90-A72D-E98CC1F3AC82}" type="presParOf" srcId="{4308492F-EA5B-4A51-A162-01D6810AC3AD}" destId="{FD636E4D-91F4-4560-994F-F2129BBFAC42}" srcOrd="5" destOrd="0" presId="urn:microsoft.com/office/officeart/2005/8/layout/vList5"/>
    <dgm:cxn modelId="{0652910E-FFD2-4A42-BE81-89A3C6BF1109}" type="presParOf" srcId="{4308492F-EA5B-4A51-A162-01D6810AC3AD}" destId="{6A604573-17BE-4A93-8215-ABB2B70DFCD0}" srcOrd="6" destOrd="0" presId="urn:microsoft.com/office/officeart/2005/8/layout/vList5"/>
    <dgm:cxn modelId="{C1F254E2-11EB-4D24-8B52-40A5387E38C4}" type="presParOf" srcId="{6A604573-17BE-4A93-8215-ABB2B70DFCD0}" destId="{EC94EA1D-1196-487C-8BCD-2C8F732400A6}" srcOrd="0" destOrd="0" presId="urn:microsoft.com/office/officeart/2005/8/layout/vList5"/>
    <dgm:cxn modelId="{E4E8D372-EBE7-4154-B5C3-CDFA45331D5A}" type="presParOf" srcId="{6A604573-17BE-4A93-8215-ABB2B70DFCD0}" destId="{632D6F6A-1B3F-4A77-96EA-DCF243119693}" srcOrd="1" destOrd="0" presId="urn:microsoft.com/office/officeart/2005/8/layout/vList5"/>
    <dgm:cxn modelId="{DF8867AC-0E73-44B6-A8DD-B55C309783FE}" type="presParOf" srcId="{4308492F-EA5B-4A51-A162-01D6810AC3AD}" destId="{0E6CA696-A1A9-4800-BF8A-5E98E3DB96B3}" srcOrd="7" destOrd="0" presId="urn:microsoft.com/office/officeart/2005/8/layout/vList5"/>
    <dgm:cxn modelId="{BA2BE3EC-2D3D-409B-A26F-64E2389498ED}" type="presParOf" srcId="{4308492F-EA5B-4A51-A162-01D6810AC3AD}" destId="{AA9F56BE-331C-4342-833A-07EAB3D39AF2}" srcOrd="8" destOrd="0" presId="urn:microsoft.com/office/officeart/2005/8/layout/vList5"/>
    <dgm:cxn modelId="{0DD7E128-0D51-4AC6-975B-5406D17F0628}" type="presParOf" srcId="{AA9F56BE-331C-4342-833A-07EAB3D39AF2}" destId="{33BA15D6-3839-4086-825D-9C1E6CA67B35}" srcOrd="0" destOrd="0" presId="urn:microsoft.com/office/officeart/2005/8/layout/vList5"/>
    <dgm:cxn modelId="{DE3EF596-A183-41DC-8665-4EAEAE336744}" type="presParOf" srcId="{AA9F56BE-331C-4342-833A-07EAB3D39AF2}" destId="{87965EE2-DBC4-4893-8519-F0D0B02A6929}" srcOrd="1" destOrd="0" presId="urn:microsoft.com/office/officeart/2005/8/layout/vList5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8D50E4FD-50EE-403D-B11C-91FC6B233041}" type="doc">
      <dgm:prSet loTypeId="urn:microsoft.com/office/officeart/2005/8/layout/process4" loCatId="list" qsTypeId="urn:microsoft.com/office/officeart/2005/8/quickstyle/3d2" qsCatId="3D" csTypeId="urn:microsoft.com/office/officeart/2005/8/colors/colorful1" csCatId="colorful" phldr="1"/>
      <dgm:spPr/>
      <dgm:t>
        <a:bodyPr/>
        <a:lstStyle/>
        <a:p>
          <a:endParaRPr lang="fr-FR"/>
        </a:p>
      </dgm:t>
    </dgm:pt>
    <dgm:pt modelId="{B885AC23-CC3E-4C7A-8099-7A94F62F4E1C}">
      <dgm:prSet phldrT="[Texte]"/>
      <dgm:spPr/>
      <dgm:t>
        <a:bodyPr/>
        <a:lstStyle/>
        <a:p>
          <a:pPr algn="ctr"/>
          <a:r>
            <a:rPr lang="fr-FR" b="1" dirty="0"/>
            <a:t>HT + TVA = TTC</a:t>
          </a:r>
        </a:p>
      </dgm:t>
    </dgm:pt>
    <dgm:pt modelId="{1285B8D2-229B-4034-AB86-DD2288B42738}" type="parTrans" cxnId="{3734005A-1FA8-463D-AB73-E58326A55945}">
      <dgm:prSet/>
      <dgm:spPr/>
      <dgm:t>
        <a:bodyPr/>
        <a:lstStyle/>
        <a:p>
          <a:endParaRPr lang="fr-FR"/>
        </a:p>
      </dgm:t>
    </dgm:pt>
    <dgm:pt modelId="{69E14E88-17D6-4B34-949E-3DE6BE3013BD}" type="sibTrans" cxnId="{3734005A-1FA8-463D-AB73-E58326A55945}">
      <dgm:prSet/>
      <dgm:spPr/>
      <dgm:t>
        <a:bodyPr/>
        <a:lstStyle/>
        <a:p>
          <a:endParaRPr lang="fr-FR"/>
        </a:p>
      </dgm:t>
    </dgm:pt>
    <dgm:pt modelId="{7AFCA4F8-1416-4FF5-96E0-82C0F7DA7096}">
      <dgm:prSet phldrT="[Texte]"/>
      <dgm:spPr/>
      <dgm:t>
        <a:bodyPr/>
        <a:lstStyle/>
        <a:p>
          <a:r>
            <a:rPr lang="fr-FR" b="1" dirty="0"/>
            <a:t>HT x Taux de TVA = TVA</a:t>
          </a:r>
        </a:p>
      </dgm:t>
    </dgm:pt>
    <dgm:pt modelId="{5D2164D1-AD8D-4F94-AD4C-D03BBBBE2EA6}" type="parTrans" cxnId="{935A10AF-D1E3-4947-8925-FD2142AFC0BD}">
      <dgm:prSet/>
      <dgm:spPr/>
      <dgm:t>
        <a:bodyPr/>
        <a:lstStyle/>
        <a:p>
          <a:endParaRPr lang="fr-FR"/>
        </a:p>
      </dgm:t>
    </dgm:pt>
    <dgm:pt modelId="{240982AE-A605-4050-9532-4FF66EA49030}" type="sibTrans" cxnId="{935A10AF-D1E3-4947-8925-FD2142AFC0BD}">
      <dgm:prSet/>
      <dgm:spPr/>
      <dgm:t>
        <a:bodyPr/>
        <a:lstStyle/>
        <a:p>
          <a:endParaRPr lang="fr-FR"/>
        </a:p>
      </dgm:t>
    </dgm:pt>
    <dgm:pt modelId="{ED55DAC2-AA84-429A-8230-DD524F7F53F9}">
      <dgm:prSet phldrT="[Texte]"/>
      <dgm:spPr/>
      <dgm:t>
        <a:bodyPr/>
        <a:lstStyle/>
        <a:p>
          <a:r>
            <a:rPr lang="fr-FR" b="1" dirty="0"/>
            <a:t>HT + (HT x Taux de TVA) = TTC</a:t>
          </a:r>
        </a:p>
      </dgm:t>
    </dgm:pt>
    <dgm:pt modelId="{4A0700AB-5D04-40F9-BFD5-880A48380CAC}" type="parTrans" cxnId="{33854ED2-6ED1-4F9A-A39F-AAACEAD7DDAB}">
      <dgm:prSet/>
      <dgm:spPr/>
      <dgm:t>
        <a:bodyPr/>
        <a:lstStyle/>
        <a:p>
          <a:endParaRPr lang="fr-FR"/>
        </a:p>
      </dgm:t>
    </dgm:pt>
    <dgm:pt modelId="{8A9E9B49-F007-4DD4-AF46-F7328F62417A}" type="sibTrans" cxnId="{33854ED2-6ED1-4F9A-A39F-AAACEAD7DDAB}">
      <dgm:prSet/>
      <dgm:spPr/>
      <dgm:t>
        <a:bodyPr/>
        <a:lstStyle/>
        <a:p>
          <a:endParaRPr lang="fr-FR"/>
        </a:p>
      </dgm:t>
    </dgm:pt>
    <dgm:pt modelId="{E6BBE531-7CEA-4E9D-81F5-0A581CAC7D10}">
      <dgm:prSet/>
      <dgm:spPr/>
      <dgm:t>
        <a:bodyPr/>
        <a:lstStyle/>
        <a:p>
          <a:r>
            <a:rPr lang="fr-FR" b="1" dirty="0"/>
            <a:t>HT x (1 + Taux de TVA) = TTC</a:t>
          </a:r>
        </a:p>
      </dgm:t>
    </dgm:pt>
    <dgm:pt modelId="{59296A1C-D971-4D66-B3E9-D32F9956E27A}" type="parTrans" cxnId="{578A0097-7076-464F-990B-362B76835C97}">
      <dgm:prSet/>
      <dgm:spPr/>
      <dgm:t>
        <a:bodyPr/>
        <a:lstStyle/>
        <a:p>
          <a:endParaRPr lang="fr-FR"/>
        </a:p>
      </dgm:t>
    </dgm:pt>
    <dgm:pt modelId="{1C005FB8-FD03-4526-94BB-907A0041C1B3}" type="sibTrans" cxnId="{578A0097-7076-464F-990B-362B76835C97}">
      <dgm:prSet/>
      <dgm:spPr/>
      <dgm:t>
        <a:bodyPr/>
        <a:lstStyle/>
        <a:p>
          <a:endParaRPr lang="fr-FR"/>
        </a:p>
      </dgm:t>
    </dgm:pt>
    <dgm:pt modelId="{A0922F44-3AAA-4859-8E53-8656EC535938}">
      <dgm:prSet/>
      <dgm:spPr/>
      <dgm:t>
        <a:bodyPr/>
        <a:lstStyle/>
        <a:p>
          <a:r>
            <a:rPr lang="fr-FR" b="1" dirty="0"/>
            <a:t>TTC / (1 + Taux de TVA) = HT</a:t>
          </a:r>
        </a:p>
      </dgm:t>
    </dgm:pt>
    <dgm:pt modelId="{12FA9A56-40D7-4FF3-B895-04B39CCE702C}" type="parTrans" cxnId="{5F7F1273-C7FA-4449-B6D3-50FCA61176B2}">
      <dgm:prSet/>
      <dgm:spPr/>
      <dgm:t>
        <a:bodyPr/>
        <a:lstStyle/>
        <a:p>
          <a:endParaRPr lang="fr-FR"/>
        </a:p>
      </dgm:t>
    </dgm:pt>
    <dgm:pt modelId="{198D607F-CA47-4F31-A489-BC4732C4B692}" type="sibTrans" cxnId="{5F7F1273-C7FA-4449-B6D3-50FCA61176B2}">
      <dgm:prSet/>
      <dgm:spPr/>
      <dgm:t>
        <a:bodyPr/>
        <a:lstStyle/>
        <a:p>
          <a:endParaRPr lang="fr-FR"/>
        </a:p>
      </dgm:t>
    </dgm:pt>
    <dgm:pt modelId="{14607A5F-A3D9-427D-A977-00020E13E776}" type="pres">
      <dgm:prSet presAssocID="{8D50E4FD-50EE-403D-B11C-91FC6B233041}" presName="Name0" presStyleCnt="0">
        <dgm:presLayoutVars>
          <dgm:dir/>
          <dgm:animLvl val="lvl"/>
          <dgm:resizeHandles val="exact"/>
        </dgm:presLayoutVars>
      </dgm:prSet>
      <dgm:spPr/>
    </dgm:pt>
    <dgm:pt modelId="{9A87840F-0FBF-4CCF-9284-7E0645C51DEA}" type="pres">
      <dgm:prSet presAssocID="{A0922F44-3AAA-4859-8E53-8656EC535938}" presName="boxAndChildren" presStyleCnt="0"/>
      <dgm:spPr/>
    </dgm:pt>
    <dgm:pt modelId="{2DD56498-76C6-4323-93A9-4640F3721F8F}" type="pres">
      <dgm:prSet presAssocID="{A0922F44-3AAA-4859-8E53-8656EC535938}" presName="parentTextBox" presStyleLbl="node1" presStyleIdx="0" presStyleCnt="5"/>
      <dgm:spPr/>
    </dgm:pt>
    <dgm:pt modelId="{3A3BBEE2-0E92-4B5B-84CA-8FCFE097E247}" type="pres">
      <dgm:prSet presAssocID="{1C005FB8-FD03-4526-94BB-907A0041C1B3}" presName="sp" presStyleCnt="0"/>
      <dgm:spPr/>
    </dgm:pt>
    <dgm:pt modelId="{0C9F2909-3A1A-4C0A-ABBC-931216D73928}" type="pres">
      <dgm:prSet presAssocID="{E6BBE531-7CEA-4E9D-81F5-0A581CAC7D10}" presName="arrowAndChildren" presStyleCnt="0"/>
      <dgm:spPr/>
    </dgm:pt>
    <dgm:pt modelId="{EF5A2A74-FDAD-42E5-9CF9-03D7B9F1E5E7}" type="pres">
      <dgm:prSet presAssocID="{E6BBE531-7CEA-4E9D-81F5-0A581CAC7D10}" presName="parentTextArrow" presStyleLbl="node1" presStyleIdx="1" presStyleCnt="5"/>
      <dgm:spPr/>
    </dgm:pt>
    <dgm:pt modelId="{E3AAB03C-6440-42F6-8F2E-7E0B1E1FF1C6}" type="pres">
      <dgm:prSet presAssocID="{8A9E9B49-F007-4DD4-AF46-F7328F62417A}" presName="sp" presStyleCnt="0"/>
      <dgm:spPr/>
    </dgm:pt>
    <dgm:pt modelId="{8F01C2DE-CF1B-42A5-9683-F1633CFC634A}" type="pres">
      <dgm:prSet presAssocID="{ED55DAC2-AA84-429A-8230-DD524F7F53F9}" presName="arrowAndChildren" presStyleCnt="0"/>
      <dgm:spPr/>
    </dgm:pt>
    <dgm:pt modelId="{CE7AE94A-2056-491A-8097-A9835F8B667B}" type="pres">
      <dgm:prSet presAssocID="{ED55DAC2-AA84-429A-8230-DD524F7F53F9}" presName="parentTextArrow" presStyleLbl="node1" presStyleIdx="2" presStyleCnt="5"/>
      <dgm:spPr/>
    </dgm:pt>
    <dgm:pt modelId="{FA5A1547-B619-4B3F-8410-5FC18C674653}" type="pres">
      <dgm:prSet presAssocID="{240982AE-A605-4050-9532-4FF66EA49030}" presName="sp" presStyleCnt="0"/>
      <dgm:spPr/>
    </dgm:pt>
    <dgm:pt modelId="{339B508A-D30E-42A1-BB80-40E80C36F4E2}" type="pres">
      <dgm:prSet presAssocID="{7AFCA4F8-1416-4FF5-96E0-82C0F7DA7096}" presName="arrowAndChildren" presStyleCnt="0"/>
      <dgm:spPr/>
    </dgm:pt>
    <dgm:pt modelId="{52FB9DCC-6E62-4B5C-843A-6DB1FD40FD19}" type="pres">
      <dgm:prSet presAssocID="{7AFCA4F8-1416-4FF5-96E0-82C0F7DA7096}" presName="parentTextArrow" presStyleLbl="node1" presStyleIdx="3" presStyleCnt="5"/>
      <dgm:spPr/>
    </dgm:pt>
    <dgm:pt modelId="{57E8CAE7-83A2-455C-AB5E-039211CE2E6F}" type="pres">
      <dgm:prSet presAssocID="{69E14E88-17D6-4B34-949E-3DE6BE3013BD}" presName="sp" presStyleCnt="0"/>
      <dgm:spPr/>
    </dgm:pt>
    <dgm:pt modelId="{ECE31349-018C-457A-907B-D98C0ABA0EB5}" type="pres">
      <dgm:prSet presAssocID="{B885AC23-CC3E-4C7A-8099-7A94F62F4E1C}" presName="arrowAndChildren" presStyleCnt="0"/>
      <dgm:spPr/>
    </dgm:pt>
    <dgm:pt modelId="{B95D6CE2-45F4-469B-AB3D-57D59BF9F2C6}" type="pres">
      <dgm:prSet presAssocID="{B885AC23-CC3E-4C7A-8099-7A94F62F4E1C}" presName="parentTextArrow" presStyleLbl="node1" presStyleIdx="4" presStyleCnt="5"/>
      <dgm:spPr/>
    </dgm:pt>
  </dgm:ptLst>
  <dgm:cxnLst>
    <dgm:cxn modelId="{1639BE11-D691-4CC7-AC32-293FC463C5C4}" type="presOf" srcId="{8D50E4FD-50EE-403D-B11C-91FC6B233041}" destId="{14607A5F-A3D9-427D-A977-00020E13E776}" srcOrd="0" destOrd="0" presId="urn:microsoft.com/office/officeart/2005/8/layout/process4"/>
    <dgm:cxn modelId="{5F7F1273-C7FA-4449-B6D3-50FCA61176B2}" srcId="{8D50E4FD-50EE-403D-B11C-91FC6B233041}" destId="{A0922F44-3AAA-4859-8E53-8656EC535938}" srcOrd="4" destOrd="0" parTransId="{12FA9A56-40D7-4FF3-B895-04B39CCE702C}" sibTransId="{198D607F-CA47-4F31-A489-BC4732C4B692}"/>
    <dgm:cxn modelId="{BBECCC55-AE91-4222-B87E-379DC4DC71F1}" type="presOf" srcId="{B885AC23-CC3E-4C7A-8099-7A94F62F4E1C}" destId="{B95D6CE2-45F4-469B-AB3D-57D59BF9F2C6}" srcOrd="0" destOrd="0" presId="urn:microsoft.com/office/officeart/2005/8/layout/process4"/>
    <dgm:cxn modelId="{3734005A-1FA8-463D-AB73-E58326A55945}" srcId="{8D50E4FD-50EE-403D-B11C-91FC6B233041}" destId="{B885AC23-CC3E-4C7A-8099-7A94F62F4E1C}" srcOrd="0" destOrd="0" parTransId="{1285B8D2-229B-4034-AB86-DD2288B42738}" sibTransId="{69E14E88-17D6-4B34-949E-3DE6BE3013BD}"/>
    <dgm:cxn modelId="{578A0097-7076-464F-990B-362B76835C97}" srcId="{8D50E4FD-50EE-403D-B11C-91FC6B233041}" destId="{E6BBE531-7CEA-4E9D-81F5-0A581CAC7D10}" srcOrd="3" destOrd="0" parTransId="{59296A1C-D971-4D66-B3E9-D32F9956E27A}" sibTransId="{1C005FB8-FD03-4526-94BB-907A0041C1B3}"/>
    <dgm:cxn modelId="{935A10AF-D1E3-4947-8925-FD2142AFC0BD}" srcId="{8D50E4FD-50EE-403D-B11C-91FC6B233041}" destId="{7AFCA4F8-1416-4FF5-96E0-82C0F7DA7096}" srcOrd="1" destOrd="0" parTransId="{5D2164D1-AD8D-4F94-AD4C-D03BBBBE2EA6}" sibTransId="{240982AE-A605-4050-9532-4FF66EA49030}"/>
    <dgm:cxn modelId="{BF0D16BC-6DA8-4C87-B3F0-ACC1D38AFCF7}" type="presOf" srcId="{E6BBE531-7CEA-4E9D-81F5-0A581CAC7D10}" destId="{EF5A2A74-FDAD-42E5-9CF9-03D7B9F1E5E7}" srcOrd="0" destOrd="0" presId="urn:microsoft.com/office/officeart/2005/8/layout/process4"/>
    <dgm:cxn modelId="{33854ED2-6ED1-4F9A-A39F-AAACEAD7DDAB}" srcId="{8D50E4FD-50EE-403D-B11C-91FC6B233041}" destId="{ED55DAC2-AA84-429A-8230-DD524F7F53F9}" srcOrd="2" destOrd="0" parTransId="{4A0700AB-5D04-40F9-BFD5-880A48380CAC}" sibTransId="{8A9E9B49-F007-4DD4-AF46-F7328F62417A}"/>
    <dgm:cxn modelId="{0A2193D5-3E65-4433-8A3A-B9576CF661E4}" type="presOf" srcId="{A0922F44-3AAA-4859-8E53-8656EC535938}" destId="{2DD56498-76C6-4323-93A9-4640F3721F8F}" srcOrd="0" destOrd="0" presId="urn:microsoft.com/office/officeart/2005/8/layout/process4"/>
    <dgm:cxn modelId="{153FE8D9-DD68-43F5-98EF-A351069D900E}" type="presOf" srcId="{7AFCA4F8-1416-4FF5-96E0-82C0F7DA7096}" destId="{52FB9DCC-6E62-4B5C-843A-6DB1FD40FD19}" srcOrd="0" destOrd="0" presId="urn:microsoft.com/office/officeart/2005/8/layout/process4"/>
    <dgm:cxn modelId="{1E7AFCED-154F-4BCB-A2AA-D6BF64D900A7}" type="presOf" srcId="{ED55DAC2-AA84-429A-8230-DD524F7F53F9}" destId="{CE7AE94A-2056-491A-8097-A9835F8B667B}" srcOrd="0" destOrd="0" presId="urn:microsoft.com/office/officeart/2005/8/layout/process4"/>
    <dgm:cxn modelId="{F3A1F1BA-D2DC-41CF-999E-6A35546BB451}" type="presParOf" srcId="{14607A5F-A3D9-427D-A977-00020E13E776}" destId="{9A87840F-0FBF-4CCF-9284-7E0645C51DEA}" srcOrd="0" destOrd="0" presId="urn:microsoft.com/office/officeart/2005/8/layout/process4"/>
    <dgm:cxn modelId="{D6948E91-D877-4929-A319-644EAA6AE15C}" type="presParOf" srcId="{9A87840F-0FBF-4CCF-9284-7E0645C51DEA}" destId="{2DD56498-76C6-4323-93A9-4640F3721F8F}" srcOrd="0" destOrd="0" presId="urn:microsoft.com/office/officeart/2005/8/layout/process4"/>
    <dgm:cxn modelId="{54503B0C-93C8-4B45-A7DB-189430925468}" type="presParOf" srcId="{14607A5F-A3D9-427D-A977-00020E13E776}" destId="{3A3BBEE2-0E92-4B5B-84CA-8FCFE097E247}" srcOrd="1" destOrd="0" presId="urn:microsoft.com/office/officeart/2005/8/layout/process4"/>
    <dgm:cxn modelId="{A59308F8-D79E-4A87-9203-85374A177C25}" type="presParOf" srcId="{14607A5F-A3D9-427D-A977-00020E13E776}" destId="{0C9F2909-3A1A-4C0A-ABBC-931216D73928}" srcOrd="2" destOrd="0" presId="urn:microsoft.com/office/officeart/2005/8/layout/process4"/>
    <dgm:cxn modelId="{3B30ACD4-E729-4871-A387-07D16019C1A4}" type="presParOf" srcId="{0C9F2909-3A1A-4C0A-ABBC-931216D73928}" destId="{EF5A2A74-FDAD-42E5-9CF9-03D7B9F1E5E7}" srcOrd="0" destOrd="0" presId="urn:microsoft.com/office/officeart/2005/8/layout/process4"/>
    <dgm:cxn modelId="{BE953E9F-F095-4279-83CF-B60C9DCD8B3E}" type="presParOf" srcId="{14607A5F-A3D9-427D-A977-00020E13E776}" destId="{E3AAB03C-6440-42F6-8F2E-7E0B1E1FF1C6}" srcOrd="3" destOrd="0" presId="urn:microsoft.com/office/officeart/2005/8/layout/process4"/>
    <dgm:cxn modelId="{61C59BA9-895A-4B2F-B73F-24C87884A6F3}" type="presParOf" srcId="{14607A5F-A3D9-427D-A977-00020E13E776}" destId="{8F01C2DE-CF1B-42A5-9683-F1633CFC634A}" srcOrd="4" destOrd="0" presId="urn:microsoft.com/office/officeart/2005/8/layout/process4"/>
    <dgm:cxn modelId="{D8A6FF68-1EF2-45EB-BE8D-ADEBF1C0972C}" type="presParOf" srcId="{8F01C2DE-CF1B-42A5-9683-F1633CFC634A}" destId="{CE7AE94A-2056-491A-8097-A9835F8B667B}" srcOrd="0" destOrd="0" presId="urn:microsoft.com/office/officeart/2005/8/layout/process4"/>
    <dgm:cxn modelId="{E27F7210-D18E-47F6-9B6B-B577C45E3826}" type="presParOf" srcId="{14607A5F-A3D9-427D-A977-00020E13E776}" destId="{FA5A1547-B619-4B3F-8410-5FC18C674653}" srcOrd="5" destOrd="0" presId="urn:microsoft.com/office/officeart/2005/8/layout/process4"/>
    <dgm:cxn modelId="{2C502519-1134-4C0D-82B9-3DDD1D9C87C0}" type="presParOf" srcId="{14607A5F-A3D9-427D-A977-00020E13E776}" destId="{339B508A-D30E-42A1-BB80-40E80C36F4E2}" srcOrd="6" destOrd="0" presId="urn:microsoft.com/office/officeart/2005/8/layout/process4"/>
    <dgm:cxn modelId="{06399E3D-1447-45B5-AFAB-482D18426C97}" type="presParOf" srcId="{339B508A-D30E-42A1-BB80-40E80C36F4E2}" destId="{52FB9DCC-6E62-4B5C-843A-6DB1FD40FD19}" srcOrd="0" destOrd="0" presId="urn:microsoft.com/office/officeart/2005/8/layout/process4"/>
    <dgm:cxn modelId="{3EA3C2D0-5767-401A-8A47-836C8A8B45E6}" type="presParOf" srcId="{14607A5F-A3D9-427D-A977-00020E13E776}" destId="{57E8CAE7-83A2-455C-AB5E-039211CE2E6F}" srcOrd="7" destOrd="0" presId="urn:microsoft.com/office/officeart/2005/8/layout/process4"/>
    <dgm:cxn modelId="{DE614F8B-DEC1-4366-A4CA-B54215D53FEA}" type="presParOf" srcId="{14607A5F-A3D9-427D-A977-00020E13E776}" destId="{ECE31349-018C-457A-907B-D98C0ABA0EB5}" srcOrd="8" destOrd="0" presId="urn:microsoft.com/office/officeart/2005/8/layout/process4"/>
    <dgm:cxn modelId="{CABF97DD-43A4-43FE-B4B9-C98118B56CBA}" type="presParOf" srcId="{ECE31349-018C-457A-907B-D98C0ABA0EB5}" destId="{B95D6CE2-45F4-469B-AB3D-57D59BF9F2C6}" srcOrd="0" destOrd="0" presId="urn:microsoft.com/office/officeart/2005/8/layout/process4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8D50E4FD-50EE-403D-B11C-91FC6B233041}" type="doc">
      <dgm:prSet loTypeId="urn:microsoft.com/office/officeart/2005/8/layout/process4" loCatId="list" qsTypeId="urn:microsoft.com/office/officeart/2005/8/quickstyle/simple3" qsCatId="simple" csTypeId="urn:microsoft.com/office/officeart/2005/8/colors/colorful1" csCatId="colorful" phldr="1"/>
      <dgm:spPr/>
      <dgm:t>
        <a:bodyPr/>
        <a:lstStyle/>
        <a:p>
          <a:endParaRPr lang="fr-FR"/>
        </a:p>
      </dgm:t>
    </dgm:pt>
    <dgm:pt modelId="{B885AC23-CC3E-4C7A-8099-7A94F62F4E1C}">
      <dgm:prSet phldrT="[Texte]" custT="1"/>
      <dgm:spPr/>
      <dgm:t>
        <a:bodyPr/>
        <a:lstStyle/>
        <a:p>
          <a:pPr algn="ctr"/>
          <a:r>
            <a:rPr lang="fr-FR" sz="2400" b="1" dirty="0"/>
            <a:t>100 + 20 = 120 €</a:t>
          </a:r>
        </a:p>
      </dgm:t>
    </dgm:pt>
    <dgm:pt modelId="{1285B8D2-229B-4034-AB86-DD2288B42738}" type="parTrans" cxnId="{3734005A-1FA8-463D-AB73-E58326A55945}">
      <dgm:prSet/>
      <dgm:spPr/>
      <dgm:t>
        <a:bodyPr/>
        <a:lstStyle/>
        <a:p>
          <a:endParaRPr lang="fr-FR"/>
        </a:p>
      </dgm:t>
    </dgm:pt>
    <dgm:pt modelId="{69E14E88-17D6-4B34-949E-3DE6BE3013BD}" type="sibTrans" cxnId="{3734005A-1FA8-463D-AB73-E58326A55945}">
      <dgm:prSet/>
      <dgm:spPr/>
      <dgm:t>
        <a:bodyPr/>
        <a:lstStyle/>
        <a:p>
          <a:endParaRPr lang="fr-FR"/>
        </a:p>
      </dgm:t>
    </dgm:pt>
    <dgm:pt modelId="{7AFCA4F8-1416-4FF5-96E0-82C0F7DA7096}">
      <dgm:prSet phldrT="[Texte]" custT="1"/>
      <dgm:spPr/>
      <dgm:t>
        <a:bodyPr/>
        <a:lstStyle/>
        <a:p>
          <a:r>
            <a:rPr lang="fr-FR" sz="2400" b="1" dirty="0"/>
            <a:t>100 x 20 % = 20 €</a:t>
          </a:r>
        </a:p>
      </dgm:t>
    </dgm:pt>
    <dgm:pt modelId="{5D2164D1-AD8D-4F94-AD4C-D03BBBBE2EA6}" type="parTrans" cxnId="{935A10AF-D1E3-4947-8925-FD2142AFC0BD}">
      <dgm:prSet/>
      <dgm:spPr/>
      <dgm:t>
        <a:bodyPr/>
        <a:lstStyle/>
        <a:p>
          <a:endParaRPr lang="fr-FR"/>
        </a:p>
      </dgm:t>
    </dgm:pt>
    <dgm:pt modelId="{240982AE-A605-4050-9532-4FF66EA49030}" type="sibTrans" cxnId="{935A10AF-D1E3-4947-8925-FD2142AFC0BD}">
      <dgm:prSet/>
      <dgm:spPr/>
      <dgm:t>
        <a:bodyPr/>
        <a:lstStyle/>
        <a:p>
          <a:endParaRPr lang="fr-FR"/>
        </a:p>
      </dgm:t>
    </dgm:pt>
    <dgm:pt modelId="{ED55DAC2-AA84-429A-8230-DD524F7F53F9}">
      <dgm:prSet phldrT="[Texte]" custT="1"/>
      <dgm:spPr/>
      <dgm:t>
        <a:bodyPr/>
        <a:lstStyle/>
        <a:p>
          <a:r>
            <a:rPr lang="fr-FR" sz="2400" b="1" dirty="0"/>
            <a:t>100 + (100 x 20%) = 120 €</a:t>
          </a:r>
        </a:p>
      </dgm:t>
    </dgm:pt>
    <dgm:pt modelId="{4A0700AB-5D04-40F9-BFD5-880A48380CAC}" type="parTrans" cxnId="{33854ED2-6ED1-4F9A-A39F-AAACEAD7DDAB}">
      <dgm:prSet/>
      <dgm:spPr/>
      <dgm:t>
        <a:bodyPr/>
        <a:lstStyle/>
        <a:p>
          <a:endParaRPr lang="fr-FR"/>
        </a:p>
      </dgm:t>
    </dgm:pt>
    <dgm:pt modelId="{8A9E9B49-F007-4DD4-AF46-F7328F62417A}" type="sibTrans" cxnId="{33854ED2-6ED1-4F9A-A39F-AAACEAD7DDAB}">
      <dgm:prSet/>
      <dgm:spPr/>
      <dgm:t>
        <a:bodyPr/>
        <a:lstStyle/>
        <a:p>
          <a:endParaRPr lang="fr-FR"/>
        </a:p>
      </dgm:t>
    </dgm:pt>
    <dgm:pt modelId="{E6BBE531-7CEA-4E9D-81F5-0A581CAC7D10}">
      <dgm:prSet custT="1"/>
      <dgm:spPr/>
      <dgm:t>
        <a:bodyPr/>
        <a:lstStyle/>
        <a:p>
          <a:r>
            <a:rPr lang="fr-FR" sz="2400" b="1" dirty="0"/>
            <a:t>100 x (1 + 0,2) = 120 €</a:t>
          </a:r>
        </a:p>
      </dgm:t>
    </dgm:pt>
    <dgm:pt modelId="{59296A1C-D971-4D66-B3E9-D32F9956E27A}" type="parTrans" cxnId="{578A0097-7076-464F-990B-362B76835C97}">
      <dgm:prSet/>
      <dgm:spPr/>
      <dgm:t>
        <a:bodyPr/>
        <a:lstStyle/>
        <a:p>
          <a:endParaRPr lang="fr-FR"/>
        </a:p>
      </dgm:t>
    </dgm:pt>
    <dgm:pt modelId="{1C005FB8-FD03-4526-94BB-907A0041C1B3}" type="sibTrans" cxnId="{578A0097-7076-464F-990B-362B76835C97}">
      <dgm:prSet/>
      <dgm:spPr/>
      <dgm:t>
        <a:bodyPr/>
        <a:lstStyle/>
        <a:p>
          <a:endParaRPr lang="fr-FR"/>
        </a:p>
      </dgm:t>
    </dgm:pt>
    <dgm:pt modelId="{A0922F44-3AAA-4859-8E53-8656EC535938}">
      <dgm:prSet custT="1"/>
      <dgm:spPr/>
      <dgm:t>
        <a:bodyPr/>
        <a:lstStyle/>
        <a:p>
          <a:r>
            <a:rPr lang="fr-FR" sz="2400" b="1" dirty="0"/>
            <a:t>120 / 1,2 = 100 €</a:t>
          </a:r>
        </a:p>
      </dgm:t>
    </dgm:pt>
    <dgm:pt modelId="{12FA9A56-40D7-4FF3-B895-04B39CCE702C}" type="parTrans" cxnId="{5F7F1273-C7FA-4449-B6D3-50FCA61176B2}">
      <dgm:prSet/>
      <dgm:spPr/>
      <dgm:t>
        <a:bodyPr/>
        <a:lstStyle/>
        <a:p>
          <a:endParaRPr lang="fr-FR"/>
        </a:p>
      </dgm:t>
    </dgm:pt>
    <dgm:pt modelId="{198D607F-CA47-4F31-A489-BC4732C4B692}" type="sibTrans" cxnId="{5F7F1273-C7FA-4449-B6D3-50FCA61176B2}">
      <dgm:prSet/>
      <dgm:spPr/>
      <dgm:t>
        <a:bodyPr/>
        <a:lstStyle/>
        <a:p>
          <a:endParaRPr lang="fr-FR"/>
        </a:p>
      </dgm:t>
    </dgm:pt>
    <dgm:pt modelId="{14607A5F-A3D9-427D-A977-00020E13E776}" type="pres">
      <dgm:prSet presAssocID="{8D50E4FD-50EE-403D-B11C-91FC6B233041}" presName="Name0" presStyleCnt="0">
        <dgm:presLayoutVars>
          <dgm:dir/>
          <dgm:animLvl val="lvl"/>
          <dgm:resizeHandles val="exact"/>
        </dgm:presLayoutVars>
      </dgm:prSet>
      <dgm:spPr/>
    </dgm:pt>
    <dgm:pt modelId="{9A87840F-0FBF-4CCF-9284-7E0645C51DEA}" type="pres">
      <dgm:prSet presAssocID="{A0922F44-3AAA-4859-8E53-8656EC535938}" presName="boxAndChildren" presStyleCnt="0"/>
      <dgm:spPr/>
    </dgm:pt>
    <dgm:pt modelId="{2DD56498-76C6-4323-93A9-4640F3721F8F}" type="pres">
      <dgm:prSet presAssocID="{A0922F44-3AAA-4859-8E53-8656EC535938}" presName="parentTextBox" presStyleLbl="node1" presStyleIdx="0" presStyleCnt="5"/>
      <dgm:spPr/>
    </dgm:pt>
    <dgm:pt modelId="{3A3BBEE2-0E92-4B5B-84CA-8FCFE097E247}" type="pres">
      <dgm:prSet presAssocID="{1C005FB8-FD03-4526-94BB-907A0041C1B3}" presName="sp" presStyleCnt="0"/>
      <dgm:spPr/>
    </dgm:pt>
    <dgm:pt modelId="{0C9F2909-3A1A-4C0A-ABBC-931216D73928}" type="pres">
      <dgm:prSet presAssocID="{E6BBE531-7CEA-4E9D-81F5-0A581CAC7D10}" presName="arrowAndChildren" presStyleCnt="0"/>
      <dgm:spPr/>
    </dgm:pt>
    <dgm:pt modelId="{EF5A2A74-FDAD-42E5-9CF9-03D7B9F1E5E7}" type="pres">
      <dgm:prSet presAssocID="{E6BBE531-7CEA-4E9D-81F5-0A581CAC7D10}" presName="parentTextArrow" presStyleLbl="node1" presStyleIdx="1" presStyleCnt="5" custLinFactNeighborY="2419"/>
      <dgm:spPr/>
    </dgm:pt>
    <dgm:pt modelId="{E3AAB03C-6440-42F6-8F2E-7E0B1E1FF1C6}" type="pres">
      <dgm:prSet presAssocID="{8A9E9B49-F007-4DD4-AF46-F7328F62417A}" presName="sp" presStyleCnt="0"/>
      <dgm:spPr/>
    </dgm:pt>
    <dgm:pt modelId="{8F01C2DE-CF1B-42A5-9683-F1633CFC634A}" type="pres">
      <dgm:prSet presAssocID="{ED55DAC2-AA84-429A-8230-DD524F7F53F9}" presName="arrowAndChildren" presStyleCnt="0"/>
      <dgm:spPr/>
    </dgm:pt>
    <dgm:pt modelId="{CE7AE94A-2056-491A-8097-A9835F8B667B}" type="pres">
      <dgm:prSet presAssocID="{ED55DAC2-AA84-429A-8230-DD524F7F53F9}" presName="parentTextArrow" presStyleLbl="node1" presStyleIdx="2" presStyleCnt="5"/>
      <dgm:spPr/>
    </dgm:pt>
    <dgm:pt modelId="{FA5A1547-B619-4B3F-8410-5FC18C674653}" type="pres">
      <dgm:prSet presAssocID="{240982AE-A605-4050-9532-4FF66EA49030}" presName="sp" presStyleCnt="0"/>
      <dgm:spPr/>
    </dgm:pt>
    <dgm:pt modelId="{339B508A-D30E-42A1-BB80-40E80C36F4E2}" type="pres">
      <dgm:prSet presAssocID="{7AFCA4F8-1416-4FF5-96E0-82C0F7DA7096}" presName="arrowAndChildren" presStyleCnt="0"/>
      <dgm:spPr/>
    </dgm:pt>
    <dgm:pt modelId="{52FB9DCC-6E62-4B5C-843A-6DB1FD40FD19}" type="pres">
      <dgm:prSet presAssocID="{7AFCA4F8-1416-4FF5-96E0-82C0F7DA7096}" presName="parentTextArrow" presStyleLbl="node1" presStyleIdx="3" presStyleCnt="5" custLinFactNeighborX="-12821" custLinFactNeighborY="-340"/>
      <dgm:spPr/>
    </dgm:pt>
    <dgm:pt modelId="{57E8CAE7-83A2-455C-AB5E-039211CE2E6F}" type="pres">
      <dgm:prSet presAssocID="{69E14E88-17D6-4B34-949E-3DE6BE3013BD}" presName="sp" presStyleCnt="0"/>
      <dgm:spPr/>
    </dgm:pt>
    <dgm:pt modelId="{ECE31349-018C-457A-907B-D98C0ABA0EB5}" type="pres">
      <dgm:prSet presAssocID="{B885AC23-CC3E-4C7A-8099-7A94F62F4E1C}" presName="arrowAndChildren" presStyleCnt="0"/>
      <dgm:spPr/>
    </dgm:pt>
    <dgm:pt modelId="{B95D6CE2-45F4-469B-AB3D-57D59BF9F2C6}" type="pres">
      <dgm:prSet presAssocID="{B885AC23-CC3E-4C7A-8099-7A94F62F4E1C}" presName="parentTextArrow" presStyleLbl="node1" presStyleIdx="4" presStyleCnt="5" custLinFactNeighborY="-221"/>
      <dgm:spPr/>
    </dgm:pt>
  </dgm:ptLst>
  <dgm:cxnLst>
    <dgm:cxn modelId="{17B5764A-D885-46E7-8C1D-F7ECA8842F2B}" type="presOf" srcId="{E6BBE531-7CEA-4E9D-81F5-0A581CAC7D10}" destId="{EF5A2A74-FDAD-42E5-9CF9-03D7B9F1E5E7}" srcOrd="0" destOrd="0" presId="urn:microsoft.com/office/officeart/2005/8/layout/process4"/>
    <dgm:cxn modelId="{5F7F1273-C7FA-4449-B6D3-50FCA61176B2}" srcId="{8D50E4FD-50EE-403D-B11C-91FC6B233041}" destId="{A0922F44-3AAA-4859-8E53-8656EC535938}" srcOrd="4" destOrd="0" parTransId="{12FA9A56-40D7-4FF3-B895-04B39CCE702C}" sibTransId="{198D607F-CA47-4F31-A489-BC4732C4B692}"/>
    <dgm:cxn modelId="{3734005A-1FA8-463D-AB73-E58326A55945}" srcId="{8D50E4FD-50EE-403D-B11C-91FC6B233041}" destId="{B885AC23-CC3E-4C7A-8099-7A94F62F4E1C}" srcOrd="0" destOrd="0" parTransId="{1285B8D2-229B-4034-AB86-DD2288B42738}" sibTransId="{69E14E88-17D6-4B34-949E-3DE6BE3013BD}"/>
    <dgm:cxn modelId="{578A0097-7076-464F-990B-362B76835C97}" srcId="{8D50E4FD-50EE-403D-B11C-91FC6B233041}" destId="{E6BBE531-7CEA-4E9D-81F5-0A581CAC7D10}" srcOrd="3" destOrd="0" parTransId="{59296A1C-D971-4D66-B3E9-D32F9956E27A}" sibTransId="{1C005FB8-FD03-4526-94BB-907A0041C1B3}"/>
    <dgm:cxn modelId="{CF507DA7-E8A4-432A-A6A1-DE691E228849}" type="presOf" srcId="{8D50E4FD-50EE-403D-B11C-91FC6B233041}" destId="{14607A5F-A3D9-427D-A977-00020E13E776}" srcOrd="0" destOrd="0" presId="urn:microsoft.com/office/officeart/2005/8/layout/process4"/>
    <dgm:cxn modelId="{935A10AF-D1E3-4947-8925-FD2142AFC0BD}" srcId="{8D50E4FD-50EE-403D-B11C-91FC6B233041}" destId="{7AFCA4F8-1416-4FF5-96E0-82C0F7DA7096}" srcOrd="1" destOrd="0" parTransId="{5D2164D1-AD8D-4F94-AD4C-D03BBBBE2EA6}" sibTransId="{240982AE-A605-4050-9532-4FF66EA49030}"/>
    <dgm:cxn modelId="{439F7ACD-F929-4B91-8ADD-82808A791E54}" type="presOf" srcId="{B885AC23-CC3E-4C7A-8099-7A94F62F4E1C}" destId="{B95D6CE2-45F4-469B-AB3D-57D59BF9F2C6}" srcOrd="0" destOrd="0" presId="urn:microsoft.com/office/officeart/2005/8/layout/process4"/>
    <dgm:cxn modelId="{33854ED2-6ED1-4F9A-A39F-AAACEAD7DDAB}" srcId="{8D50E4FD-50EE-403D-B11C-91FC6B233041}" destId="{ED55DAC2-AA84-429A-8230-DD524F7F53F9}" srcOrd="2" destOrd="0" parTransId="{4A0700AB-5D04-40F9-BFD5-880A48380CAC}" sibTransId="{8A9E9B49-F007-4DD4-AF46-F7328F62417A}"/>
    <dgm:cxn modelId="{DEE409D3-9880-4D92-9949-D348839732F1}" type="presOf" srcId="{ED55DAC2-AA84-429A-8230-DD524F7F53F9}" destId="{CE7AE94A-2056-491A-8097-A9835F8B667B}" srcOrd="0" destOrd="0" presId="urn:microsoft.com/office/officeart/2005/8/layout/process4"/>
    <dgm:cxn modelId="{D7504FD5-9076-4588-8B8B-3D454949DCD0}" type="presOf" srcId="{A0922F44-3AAA-4859-8E53-8656EC535938}" destId="{2DD56498-76C6-4323-93A9-4640F3721F8F}" srcOrd="0" destOrd="0" presId="urn:microsoft.com/office/officeart/2005/8/layout/process4"/>
    <dgm:cxn modelId="{1F339FD5-897A-4DC4-A865-D27AF3B99131}" type="presOf" srcId="{7AFCA4F8-1416-4FF5-96E0-82C0F7DA7096}" destId="{52FB9DCC-6E62-4B5C-843A-6DB1FD40FD19}" srcOrd="0" destOrd="0" presId="urn:microsoft.com/office/officeart/2005/8/layout/process4"/>
    <dgm:cxn modelId="{1C111487-CC09-40B5-99EA-74CB0F807A30}" type="presParOf" srcId="{14607A5F-A3D9-427D-A977-00020E13E776}" destId="{9A87840F-0FBF-4CCF-9284-7E0645C51DEA}" srcOrd="0" destOrd="0" presId="urn:microsoft.com/office/officeart/2005/8/layout/process4"/>
    <dgm:cxn modelId="{282D7F49-2F2D-49CC-BDDD-790A3C3022C6}" type="presParOf" srcId="{9A87840F-0FBF-4CCF-9284-7E0645C51DEA}" destId="{2DD56498-76C6-4323-93A9-4640F3721F8F}" srcOrd="0" destOrd="0" presId="urn:microsoft.com/office/officeart/2005/8/layout/process4"/>
    <dgm:cxn modelId="{5408DA0E-68BE-4C87-94BC-F68019AC59CC}" type="presParOf" srcId="{14607A5F-A3D9-427D-A977-00020E13E776}" destId="{3A3BBEE2-0E92-4B5B-84CA-8FCFE097E247}" srcOrd="1" destOrd="0" presId="urn:microsoft.com/office/officeart/2005/8/layout/process4"/>
    <dgm:cxn modelId="{CDC4E40B-B43C-4183-B016-E44ACC5AB66E}" type="presParOf" srcId="{14607A5F-A3D9-427D-A977-00020E13E776}" destId="{0C9F2909-3A1A-4C0A-ABBC-931216D73928}" srcOrd="2" destOrd="0" presId="urn:microsoft.com/office/officeart/2005/8/layout/process4"/>
    <dgm:cxn modelId="{45C64173-7C93-4509-8BF8-5FC652CEC90D}" type="presParOf" srcId="{0C9F2909-3A1A-4C0A-ABBC-931216D73928}" destId="{EF5A2A74-FDAD-42E5-9CF9-03D7B9F1E5E7}" srcOrd="0" destOrd="0" presId="urn:microsoft.com/office/officeart/2005/8/layout/process4"/>
    <dgm:cxn modelId="{EADB00FA-AE2B-42E3-970F-054DB3429001}" type="presParOf" srcId="{14607A5F-A3D9-427D-A977-00020E13E776}" destId="{E3AAB03C-6440-42F6-8F2E-7E0B1E1FF1C6}" srcOrd="3" destOrd="0" presId="urn:microsoft.com/office/officeart/2005/8/layout/process4"/>
    <dgm:cxn modelId="{8475AB3D-3BDA-473E-8F5D-D6D9F2A0CA15}" type="presParOf" srcId="{14607A5F-A3D9-427D-A977-00020E13E776}" destId="{8F01C2DE-CF1B-42A5-9683-F1633CFC634A}" srcOrd="4" destOrd="0" presId="urn:microsoft.com/office/officeart/2005/8/layout/process4"/>
    <dgm:cxn modelId="{06CD43D9-0593-4E19-9718-DBABB6282EE4}" type="presParOf" srcId="{8F01C2DE-CF1B-42A5-9683-F1633CFC634A}" destId="{CE7AE94A-2056-491A-8097-A9835F8B667B}" srcOrd="0" destOrd="0" presId="urn:microsoft.com/office/officeart/2005/8/layout/process4"/>
    <dgm:cxn modelId="{77A3ABA6-180F-494D-986A-4270DC2F7271}" type="presParOf" srcId="{14607A5F-A3D9-427D-A977-00020E13E776}" destId="{FA5A1547-B619-4B3F-8410-5FC18C674653}" srcOrd="5" destOrd="0" presId="urn:microsoft.com/office/officeart/2005/8/layout/process4"/>
    <dgm:cxn modelId="{273A7ED7-126D-418E-9611-5C24BEC7E9FE}" type="presParOf" srcId="{14607A5F-A3D9-427D-A977-00020E13E776}" destId="{339B508A-D30E-42A1-BB80-40E80C36F4E2}" srcOrd="6" destOrd="0" presId="urn:microsoft.com/office/officeart/2005/8/layout/process4"/>
    <dgm:cxn modelId="{6B3A8C18-A8DC-4B39-8E66-02A91DE58CC5}" type="presParOf" srcId="{339B508A-D30E-42A1-BB80-40E80C36F4E2}" destId="{52FB9DCC-6E62-4B5C-843A-6DB1FD40FD19}" srcOrd="0" destOrd="0" presId="urn:microsoft.com/office/officeart/2005/8/layout/process4"/>
    <dgm:cxn modelId="{1D9B139B-230F-44CD-9F6D-0CE63577CEBF}" type="presParOf" srcId="{14607A5F-A3D9-427D-A977-00020E13E776}" destId="{57E8CAE7-83A2-455C-AB5E-039211CE2E6F}" srcOrd="7" destOrd="0" presId="urn:microsoft.com/office/officeart/2005/8/layout/process4"/>
    <dgm:cxn modelId="{F6F50FA6-44C2-4592-AD1D-46AD09636F71}" type="presParOf" srcId="{14607A5F-A3D9-427D-A977-00020E13E776}" destId="{ECE31349-018C-457A-907B-D98C0ABA0EB5}" srcOrd="8" destOrd="0" presId="urn:microsoft.com/office/officeart/2005/8/layout/process4"/>
    <dgm:cxn modelId="{401FB0C9-52D5-4B2D-9B17-A290AA4A8398}" type="presParOf" srcId="{ECE31349-018C-457A-907B-D98C0ABA0EB5}" destId="{B95D6CE2-45F4-469B-AB3D-57D59BF9F2C6}" srcOrd="0" destOrd="0" presId="urn:microsoft.com/office/officeart/2005/8/layout/process4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5057C9A-4B2E-4472-94A1-CFDE50B97E94}">
      <dsp:nvSpPr>
        <dsp:cNvPr id="0" name=""/>
        <dsp:cNvSpPr/>
      </dsp:nvSpPr>
      <dsp:spPr>
        <a:xfrm>
          <a:off x="0" y="506528"/>
          <a:ext cx="10515600" cy="8316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254DA204-28B0-4F4A-AC1B-10AF0F48E56E}">
      <dsp:nvSpPr>
        <dsp:cNvPr id="0" name=""/>
        <dsp:cNvSpPr/>
      </dsp:nvSpPr>
      <dsp:spPr>
        <a:xfrm>
          <a:off x="525780" y="19448"/>
          <a:ext cx="7360920" cy="974160"/>
        </a:xfrm>
        <a:prstGeom prst="roundRect">
          <a:avLst/>
        </a:prstGeom>
        <a:solidFill>
          <a:schemeClr val="accent2"/>
        </a:solidFill>
        <a:ln w="12700" cap="flat" cmpd="sng" algn="ctr">
          <a:solidFill>
            <a:schemeClr val="accent2">
              <a:shade val="50000"/>
            </a:schemeClr>
          </a:solidFill>
          <a:prstDash val="solid"/>
          <a:miter lim="800000"/>
        </a:ln>
        <a:effectLst/>
      </dsp:spPr>
      <dsp:style>
        <a:lnRef idx="2">
          <a:schemeClr val="accent2">
            <a:shade val="50000"/>
          </a:schemeClr>
        </a:lnRef>
        <a:fillRef idx="1">
          <a:schemeClr val="accent2"/>
        </a:fillRef>
        <a:effectRef idx="0">
          <a:schemeClr val="accent2"/>
        </a:effectRef>
        <a:fontRef idx="minor">
          <a:schemeClr val="lt1"/>
        </a:fontRef>
      </dsp:style>
      <dsp:txBody>
        <a:bodyPr spcFirstLastPara="0" vert="horz" wrap="square" lIns="278225" tIns="0" rIns="278225" bIns="0" numCol="1" spcCol="1270" anchor="ctr" anchorCtr="0">
          <a:noAutofit/>
        </a:bodyPr>
        <a:lstStyle/>
        <a:p>
          <a:pPr marL="0" lvl="0" indent="0" algn="l" defTabSz="1466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3300" kern="1200" dirty="0"/>
            <a:t>Compte en T</a:t>
          </a:r>
        </a:p>
      </dsp:txBody>
      <dsp:txXfrm>
        <a:off x="573335" y="67003"/>
        <a:ext cx="7265810" cy="879050"/>
      </dsp:txXfrm>
    </dsp:sp>
    <dsp:sp modelId="{ACC3704B-21B2-4B44-802B-6F19D1E389C2}">
      <dsp:nvSpPr>
        <dsp:cNvPr id="0" name=""/>
        <dsp:cNvSpPr/>
      </dsp:nvSpPr>
      <dsp:spPr>
        <a:xfrm>
          <a:off x="0" y="2003409"/>
          <a:ext cx="10515600" cy="8316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38ADE8E1-5D8C-4244-96DD-C319B773324A}">
      <dsp:nvSpPr>
        <dsp:cNvPr id="0" name=""/>
        <dsp:cNvSpPr/>
      </dsp:nvSpPr>
      <dsp:spPr>
        <a:xfrm>
          <a:off x="525780" y="1516329"/>
          <a:ext cx="7360920" cy="97416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78225" tIns="0" rIns="278225" bIns="0" numCol="1" spcCol="1270" anchor="ctr" anchorCtr="0">
          <a:noAutofit/>
        </a:bodyPr>
        <a:lstStyle/>
        <a:p>
          <a:pPr marL="0" lvl="0" indent="0" algn="l" defTabSz="1466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3300" kern="1200" dirty="0"/>
            <a:t>Journal chronologique</a:t>
          </a:r>
        </a:p>
      </dsp:txBody>
      <dsp:txXfrm>
        <a:off x="573335" y="1563884"/>
        <a:ext cx="7265810" cy="879050"/>
      </dsp:txXfrm>
    </dsp:sp>
    <dsp:sp modelId="{9CDD2D92-11EB-418A-9357-2ECBBDD78A04}">
      <dsp:nvSpPr>
        <dsp:cNvPr id="0" name=""/>
        <dsp:cNvSpPr/>
      </dsp:nvSpPr>
      <dsp:spPr>
        <a:xfrm>
          <a:off x="0" y="3500289"/>
          <a:ext cx="10515600" cy="8316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3A69236F-4649-4461-B02C-06E57F0BB7A7}">
      <dsp:nvSpPr>
        <dsp:cNvPr id="0" name=""/>
        <dsp:cNvSpPr/>
      </dsp:nvSpPr>
      <dsp:spPr>
        <a:xfrm>
          <a:off x="525780" y="3013209"/>
          <a:ext cx="7360920" cy="974160"/>
        </a:xfrm>
        <a:prstGeom prst="roundRect">
          <a:avLst/>
        </a:prstGeom>
        <a:solidFill>
          <a:schemeClr val="accent6"/>
        </a:solidFill>
        <a:ln w="19050" cap="flat" cmpd="sng" algn="ctr">
          <a:solidFill>
            <a:schemeClr val="lt1"/>
          </a:solidFill>
          <a:prstDash val="solid"/>
          <a:miter lim="800000"/>
        </a:ln>
        <a:effectLst/>
      </dsp:spPr>
      <dsp:style>
        <a:lnRef idx="3">
          <a:schemeClr val="lt1"/>
        </a:lnRef>
        <a:fillRef idx="1">
          <a:schemeClr val="accent6"/>
        </a:fillRef>
        <a:effectRef idx="1">
          <a:schemeClr val="accent6"/>
        </a:effectRef>
        <a:fontRef idx="minor">
          <a:schemeClr val="lt1"/>
        </a:fontRef>
      </dsp:style>
      <dsp:txBody>
        <a:bodyPr spcFirstLastPara="0" vert="horz" wrap="square" lIns="278225" tIns="0" rIns="278225" bIns="0" numCol="1" spcCol="1270" anchor="ctr" anchorCtr="0">
          <a:noAutofit/>
        </a:bodyPr>
        <a:lstStyle/>
        <a:p>
          <a:pPr marL="0" lvl="0" indent="0" algn="l" defTabSz="1466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3300" kern="1200" dirty="0"/>
            <a:t>Journaux ( achats / ventes / banque…)</a:t>
          </a:r>
        </a:p>
      </dsp:txBody>
      <dsp:txXfrm>
        <a:off x="573335" y="3060764"/>
        <a:ext cx="7265810" cy="879050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6CEEC18-277E-4D60-99A9-2F4AF108EB83}">
      <dsp:nvSpPr>
        <dsp:cNvPr id="0" name=""/>
        <dsp:cNvSpPr/>
      </dsp:nvSpPr>
      <dsp:spPr>
        <a:xfrm rot="5400000">
          <a:off x="5372156" y="-2171050"/>
          <a:ext cx="909462" cy="5484129"/>
        </a:xfrm>
        <a:prstGeom prst="round2SameRect">
          <a:avLst/>
        </a:prstGeom>
        <a:solidFill>
          <a:schemeClr val="accent2">
            <a:tint val="40000"/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2">
              <a:tint val="40000"/>
              <a:alpha val="90000"/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threePt" dir="t">
            <a:rot lat="0" lon="0" rev="7500000"/>
          </a:lightRig>
        </a:scene3d>
        <a:sp3d extrusionH="190500" prstMaterial="dkEdge">
          <a:bevelT w="120650" h="38100" prst="relaxedInset"/>
          <a:bevelB w="120650" h="57150" prst="relaxedInset"/>
          <a:contourClr>
            <a:schemeClr val="bg1"/>
          </a:contourClr>
        </a:sp3d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95250" tIns="47625" rIns="95250" bIns="47625" numCol="1" spcCol="1270" anchor="ctr" anchorCtr="0">
          <a:noAutofit/>
        </a:bodyPr>
        <a:lstStyle/>
        <a:p>
          <a:pPr marL="228600" lvl="1" indent="-228600" algn="l" defTabSz="11112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fr-FR" sz="2500" b="1" kern="1200" dirty="0"/>
            <a:t>Taxe sur la valeur ajoutée</a:t>
          </a:r>
        </a:p>
      </dsp:txBody>
      <dsp:txXfrm rot="-5400000">
        <a:off x="3084823" y="160679"/>
        <a:ext cx="5439733" cy="820670"/>
      </dsp:txXfrm>
    </dsp:sp>
    <dsp:sp modelId="{250DF100-6CBA-4F3E-A1A0-CAB046AC3603}">
      <dsp:nvSpPr>
        <dsp:cNvPr id="0" name=""/>
        <dsp:cNvSpPr/>
      </dsp:nvSpPr>
      <dsp:spPr>
        <a:xfrm>
          <a:off x="0" y="2600"/>
          <a:ext cx="3084822" cy="1136827"/>
        </a:xfrm>
        <a:prstGeom prst="roundRect">
          <a:avLst/>
        </a:prstGeom>
        <a:gradFill rotWithShape="0">
          <a:gsLst>
            <a:gs pos="0">
              <a:schemeClr val="accent2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2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2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threePt" dir="t">
            <a:rot lat="0" lon="0" rev="7500000"/>
          </a:lightRig>
        </a:scene3d>
        <a:sp3d prstMaterial="plastic">
          <a:bevelT w="127000" h="25400" prst="relaxedInset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25730" tIns="62865" rIns="125730" bIns="62865" numCol="1" spcCol="1270" anchor="ctr" anchorCtr="0">
          <a:noAutofit/>
        </a:bodyPr>
        <a:lstStyle/>
        <a:p>
          <a:pPr marL="0" lvl="0" indent="0" algn="ctr" defTabSz="1466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3300" b="1" kern="1200" dirty="0"/>
            <a:t>TVA</a:t>
          </a:r>
        </a:p>
      </dsp:txBody>
      <dsp:txXfrm>
        <a:off x="55495" y="58095"/>
        <a:ext cx="2973832" cy="1025837"/>
      </dsp:txXfrm>
    </dsp:sp>
    <dsp:sp modelId="{442813C6-26AD-426C-B935-825D70FC658A}">
      <dsp:nvSpPr>
        <dsp:cNvPr id="0" name=""/>
        <dsp:cNvSpPr/>
      </dsp:nvSpPr>
      <dsp:spPr>
        <a:xfrm rot="5400000">
          <a:off x="5372156" y="-977381"/>
          <a:ext cx="909462" cy="5484129"/>
        </a:xfrm>
        <a:prstGeom prst="round2SameRect">
          <a:avLst/>
        </a:prstGeom>
        <a:solidFill>
          <a:schemeClr val="accent3">
            <a:tint val="40000"/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3">
              <a:tint val="40000"/>
              <a:alpha val="90000"/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threePt" dir="t">
            <a:rot lat="0" lon="0" rev="7500000"/>
          </a:lightRig>
        </a:scene3d>
        <a:sp3d extrusionH="190500" prstMaterial="dkEdge">
          <a:bevelT w="120650" h="38100" prst="relaxedInset"/>
          <a:bevelB w="120650" h="57150" prst="relaxedInset"/>
          <a:contourClr>
            <a:schemeClr val="bg1"/>
          </a:contourClr>
        </a:sp3d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95250" tIns="47625" rIns="95250" bIns="47625" numCol="1" spcCol="1270" anchor="ctr" anchorCtr="0">
          <a:noAutofit/>
        </a:bodyPr>
        <a:lstStyle/>
        <a:p>
          <a:pPr marL="228600" lvl="1" indent="-228600" algn="l" defTabSz="11112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fr-FR" sz="2500" b="1" kern="1200" dirty="0"/>
            <a:t>Personne imposable en matière de TVA</a:t>
          </a:r>
        </a:p>
      </dsp:txBody>
      <dsp:txXfrm rot="-5400000">
        <a:off x="3084823" y="1354348"/>
        <a:ext cx="5439733" cy="820670"/>
      </dsp:txXfrm>
    </dsp:sp>
    <dsp:sp modelId="{564E2EEF-B547-4254-BA6A-728D07B2A2CA}">
      <dsp:nvSpPr>
        <dsp:cNvPr id="0" name=""/>
        <dsp:cNvSpPr/>
      </dsp:nvSpPr>
      <dsp:spPr>
        <a:xfrm>
          <a:off x="0" y="1196269"/>
          <a:ext cx="3084822" cy="1136827"/>
        </a:xfrm>
        <a:prstGeom prst="roundRect">
          <a:avLst/>
        </a:prstGeom>
        <a:gradFill rotWithShape="0">
          <a:gsLst>
            <a:gs pos="0">
              <a:schemeClr val="accent3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3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3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threePt" dir="t">
            <a:rot lat="0" lon="0" rev="7500000"/>
          </a:lightRig>
        </a:scene3d>
        <a:sp3d prstMaterial="plastic">
          <a:bevelT w="127000" h="25400" prst="relaxedInset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25730" tIns="62865" rIns="125730" bIns="62865" numCol="1" spcCol="1270" anchor="ctr" anchorCtr="0">
          <a:noAutofit/>
        </a:bodyPr>
        <a:lstStyle/>
        <a:p>
          <a:pPr marL="0" lvl="0" indent="0" algn="ctr" defTabSz="1466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3300" b="1" kern="1200" dirty="0"/>
            <a:t>Assujetti</a:t>
          </a:r>
        </a:p>
      </dsp:txBody>
      <dsp:txXfrm>
        <a:off x="55495" y="1251764"/>
        <a:ext cx="2973832" cy="1025837"/>
      </dsp:txXfrm>
    </dsp:sp>
    <dsp:sp modelId="{87789FC3-6358-435F-8FB1-9C3D59222CAD}">
      <dsp:nvSpPr>
        <dsp:cNvPr id="0" name=""/>
        <dsp:cNvSpPr/>
      </dsp:nvSpPr>
      <dsp:spPr>
        <a:xfrm rot="5400000">
          <a:off x="5372156" y="216287"/>
          <a:ext cx="909462" cy="5484129"/>
        </a:xfrm>
        <a:prstGeom prst="round2SameRect">
          <a:avLst/>
        </a:prstGeom>
        <a:solidFill>
          <a:schemeClr val="accent4">
            <a:tint val="40000"/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4">
              <a:tint val="40000"/>
              <a:alpha val="90000"/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threePt" dir="t">
            <a:rot lat="0" lon="0" rev="7500000"/>
          </a:lightRig>
        </a:scene3d>
        <a:sp3d extrusionH="190500" prstMaterial="dkEdge">
          <a:bevelT w="120650" h="38100" prst="relaxedInset"/>
          <a:bevelB w="120650" h="57150" prst="relaxedInset"/>
          <a:contourClr>
            <a:schemeClr val="bg1"/>
          </a:contourClr>
        </a:sp3d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95250" tIns="47625" rIns="95250" bIns="47625" numCol="1" spcCol="1270" anchor="ctr" anchorCtr="0">
          <a:noAutofit/>
        </a:bodyPr>
        <a:lstStyle/>
        <a:p>
          <a:pPr marL="228600" lvl="1" indent="-228600" algn="l" defTabSz="11112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fr-FR" sz="2500" b="1" kern="1200" dirty="0"/>
            <a:t>TVA encaissée par un assujetti lors d’une vente</a:t>
          </a:r>
        </a:p>
      </dsp:txBody>
      <dsp:txXfrm rot="-5400000">
        <a:off x="3084823" y="2548016"/>
        <a:ext cx="5439733" cy="820670"/>
      </dsp:txXfrm>
    </dsp:sp>
    <dsp:sp modelId="{90933AB5-231A-4325-87E3-D057F3D598A6}">
      <dsp:nvSpPr>
        <dsp:cNvPr id="0" name=""/>
        <dsp:cNvSpPr/>
      </dsp:nvSpPr>
      <dsp:spPr>
        <a:xfrm>
          <a:off x="0" y="2389938"/>
          <a:ext cx="3084822" cy="1136827"/>
        </a:xfrm>
        <a:prstGeom prst="round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threePt" dir="t">
            <a:rot lat="0" lon="0" rev="7500000"/>
          </a:lightRig>
        </a:scene3d>
        <a:sp3d prstMaterial="plastic">
          <a:bevelT w="127000" h="25400" prst="relaxedInset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25730" tIns="62865" rIns="125730" bIns="62865" numCol="1" spcCol="1270" anchor="ctr" anchorCtr="0">
          <a:noAutofit/>
        </a:bodyPr>
        <a:lstStyle/>
        <a:p>
          <a:pPr marL="0" lvl="0" indent="0" algn="ctr" defTabSz="1466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3300" b="1" kern="1200" dirty="0"/>
            <a:t>TVA collectée</a:t>
          </a:r>
        </a:p>
      </dsp:txBody>
      <dsp:txXfrm>
        <a:off x="55495" y="2445433"/>
        <a:ext cx="2973832" cy="1025837"/>
      </dsp:txXfrm>
    </dsp:sp>
    <dsp:sp modelId="{632D6F6A-1B3F-4A77-96EA-DCF243119693}">
      <dsp:nvSpPr>
        <dsp:cNvPr id="0" name=""/>
        <dsp:cNvSpPr/>
      </dsp:nvSpPr>
      <dsp:spPr>
        <a:xfrm rot="5400000">
          <a:off x="5372156" y="1409957"/>
          <a:ext cx="909462" cy="5484129"/>
        </a:xfrm>
        <a:prstGeom prst="round2SameRect">
          <a:avLst/>
        </a:prstGeom>
        <a:solidFill>
          <a:schemeClr val="accent5">
            <a:tint val="40000"/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5">
              <a:tint val="40000"/>
              <a:alpha val="90000"/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threePt" dir="t">
            <a:rot lat="0" lon="0" rev="7500000"/>
          </a:lightRig>
        </a:scene3d>
        <a:sp3d extrusionH="190500" prstMaterial="dkEdge">
          <a:bevelT w="120650" h="38100" prst="relaxedInset"/>
          <a:bevelB w="120650" h="57150" prst="relaxedInset"/>
          <a:contourClr>
            <a:schemeClr val="bg1"/>
          </a:contourClr>
        </a:sp3d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95250" tIns="47625" rIns="95250" bIns="47625" numCol="1" spcCol="1270" anchor="ctr" anchorCtr="0">
          <a:noAutofit/>
        </a:bodyPr>
        <a:lstStyle/>
        <a:p>
          <a:pPr marL="228600" lvl="1" indent="-228600" algn="l" defTabSz="11112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fr-FR" sz="2500" b="1" kern="1200" dirty="0"/>
            <a:t>TVA payée par un assujetti lors d’un achat</a:t>
          </a:r>
        </a:p>
      </dsp:txBody>
      <dsp:txXfrm rot="-5400000">
        <a:off x="3084823" y="3741686"/>
        <a:ext cx="5439733" cy="820670"/>
      </dsp:txXfrm>
    </dsp:sp>
    <dsp:sp modelId="{EC94EA1D-1196-487C-8BCD-2C8F732400A6}">
      <dsp:nvSpPr>
        <dsp:cNvPr id="0" name=""/>
        <dsp:cNvSpPr/>
      </dsp:nvSpPr>
      <dsp:spPr>
        <a:xfrm>
          <a:off x="0" y="3583607"/>
          <a:ext cx="3084822" cy="1136827"/>
        </a:xfrm>
        <a:prstGeom prst="roundRect">
          <a:avLst/>
        </a:prstGeom>
        <a:gradFill rotWithShape="0">
          <a:gsLst>
            <a:gs pos="0">
              <a:schemeClr val="accent5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5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5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threePt" dir="t">
            <a:rot lat="0" lon="0" rev="7500000"/>
          </a:lightRig>
        </a:scene3d>
        <a:sp3d prstMaterial="plastic">
          <a:bevelT w="127000" h="25400" prst="relaxedInset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25730" tIns="62865" rIns="125730" bIns="62865" numCol="1" spcCol="1270" anchor="ctr" anchorCtr="0">
          <a:noAutofit/>
        </a:bodyPr>
        <a:lstStyle/>
        <a:p>
          <a:pPr marL="0" lvl="0" indent="0" algn="ctr" defTabSz="1466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3300" b="1" kern="1200" dirty="0"/>
            <a:t>TVA déductible</a:t>
          </a:r>
        </a:p>
      </dsp:txBody>
      <dsp:txXfrm>
        <a:off x="55495" y="3639102"/>
        <a:ext cx="2973832" cy="1025837"/>
      </dsp:txXfrm>
    </dsp:sp>
    <dsp:sp modelId="{87965EE2-DBC4-4893-8519-F0D0B02A6929}">
      <dsp:nvSpPr>
        <dsp:cNvPr id="0" name=""/>
        <dsp:cNvSpPr/>
      </dsp:nvSpPr>
      <dsp:spPr>
        <a:xfrm rot="5400000">
          <a:off x="5372156" y="2603626"/>
          <a:ext cx="909462" cy="5484129"/>
        </a:xfrm>
        <a:prstGeom prst="round2SameRect">
          <a:avLst/>
        </a:prstGeom>
        <a:solidFill>
          <a:schemeClr val="accent6">
            <a:tint val="40000"/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6">
              <a:tint val="40000"/>
              <a:alpha val="90000"/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threePt" dir="t">
            <a:rot lat="0" lon="0" rev="7500000"/>
          </a:lightRig>
        </a:scene3d>
        <a:sp3d extrusionH="190500" prstMaterial="dkEdge">
          <a:bevelT w="120650" h="38100" prst="relaxedInset"/>
          <a:bevelB w="120650" h="57150" prst="relaxedInset"/>
          <a:contourClr>
            <a:schemeClr val="bg1"/>
          </a:contourClr>
        </a:sp3d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95250" tIns="47625" rIns="95250" bIns="47625" numCol="1" spcCol="1270" anchor="ctr" anchorCtr="0">
          <a:noAutofit/>
        </a:bodyPr>
        <a:lstStyle/>
        <a:p>
          <a:pPr marL="228600" lvl="1" indent="-228600" algn="l" defTabSz="11112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fr-FR" sz="2500" b="1" kern="1200" dirty="0"/>
            <a:t>TVA collectée – TVA déductible</a:t>
          </a:r>
        </a:p>
      </dsp:txBody>
      <dsp:txXfrm rot="-5400000">
        <a:off x="3084823" y="4935355"/>
        <a:ext cx="5439733" cy="820670"/>
      </dsp:txXfrm>
    </dsp:sp>
    <dsp:sp modelId="{33BA15D6-3839-4086-825D-9C1E6CA67B35}">
      <dsp:nvSpPr>
        <dsp:cNvPr id="0" name=""/>
        <dsp:cNvSpPr/>
      </dsp:nvSpPr>
      <dsp:spPr>
        <a:xfrm>
          <a:off x="0" y="4777277"/>
          <a:ext cx="3084822" cy="1136827"/>
        </a:xfrm>
        <a:prstGeom prst="roundRect">
          <a:avLst/>
        </a:prstGeom>
        <a:gradFill rotWithShape="0">
          <a:gsLst>
            <a:gs pos="0">
              <a:schemeClr val="accent6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6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6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threePt" dir="t">
            <a:rot lat="0" lon="0" rev="7500000"/>
          </a:lightRig>
        </a:scene3d>
        <a:sp3d prstMaterial="plastic">
          <a:bevelT w="127000" h="25400" prst="relaxedInset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25730" tIns="62865" rIns="125730" bIns="62865" numCol="1" spcCol="1270" anchor="ctr" anchorCtr="0">
          <a:noAutofit/>
        </a:bodyPr>
        <a:lstStyle/>
        <a:p>
          <a:pPr marL="0" lvl="0" indent="0" algn="ctr" defTabSz="1466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3300" b="1" kern="1200" dirty="0"/>
            <a:t>TVA à décaisser</a:t>
          </a:r>
        </a:p>
      </dsp:txBody>
      <dsp:txXfrm>
        <a:off x="55495" y="4832772"/>
        <a:ext cx="2973832" cy="1025837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DD56498-76C6-4323-93A9-4640F3721F8F}">
      <dsp:nvSpPr>
        <dsp:cNvPr id="0" name=""/>
        <dsp:cNvSpPr/>
      </dsp:nvSpPr>
      <dsp:spPr>
        <a:xfrm>
          <a:off x="0" y="4760900"/>
          <a:ext cx="5112568" cy="781065"/>
        </a:xfrm>
        <a:prstGeom prst="rect">
          <a:avLst/>
        </a:prstGeom>
        <a:gradFill rotWithShape="0">
          <a:gsLst>
            <a:gs pos="0">
              <a:schemeClr val="accent2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2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2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threePt" dir="t">
            <a:rot lat="0" lon="0" rev="7500000"/>
          </a:lightRig>
        </a:scene3d>
        <a:sp3d prstMaterial="plastic">
          <a:bevelT w="127000" h="25400" prst="relaxedInset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92024" tIns="192024" rIns="192024" bIns="192024" numCol="1" spcCol="1270" anchor="ctr" anchorCtr="0">
          <a:noAutofit/>
        </a:bodyPr>
        <a:lstStyle/>
        <a:p>
          <a:pPr marL="0" lvl="0" indent="0" algn="ctr" defTabSz="1200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2700" b="1" kern="1200" dirty="0"/>
            <a:t>TTC / (1 + Taux de TVA) = HT</a:t>
          </a:r>
        </a:p>
      </dsp:txBody>
      <dsp:txXfrm>
        <a:off x="0" y="4760900"/>
        <a:ext cx="5112568" cy="781065"/>
      </dsp:txXfrm>
    </dsp:sp>
    <dsp:sp modelId="{EF5A2A74-FDAD-42E5-9CF9-03D7B9F1E5E7}">
      <dsp:nvSpPr>
        <dsp:cNvPr id="0" name=""/>
        <dsp:cNvSpPr/>
      </dsp:nvSpPr>
      <dsp:spPr>
        <a:xfrm rot="10800000">
          <a:off x="0" y="3571337"/>
          <a:ext cx="5112568" cy="1201278"/>
        </a:xfrm>
        <a:prstGeom prst="upArrowCallout">
          <a:avLst/>
        </a:prstGeom>
        <a:gradFill rotWithShape="0">
          <a:gsLst>
            <a:gs pos="0">
              <a:schemeClr val="accent3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3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3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threePt" dir="t">
            <a:rot lat="0" lon="0" rev="7500000"/>
          </a:lightRig>
        </a:scene3d>
        <a:sp3d prstMaterial="plastic">
          <a:bevelT w="127000" h="25400" prst="relaxedInset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92024" tIns="192024" rIns="192024" bIns="192024" numCol="1" spcCol="1270" anchor="ctr" anchorCtr="0">
          <a:noAutofit/>
        </a:bodyPr>
        <a:lstStyle/>
        <a:p>
          <a:pPr marL="0" lvl="0" indent="0" algn="ctr" defTabSz="1200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2700" b="1" kern="1200" dirty="0"/>
            <a:t>HT x (1 + Taux de TVA) = TTC</a:t>
          </a:r>
        </a:p>
      </dsp:txBody>
      <dsp:txXfrm rot="10800000">
        <a:off x="0" y="3571337"/>
        <a:ext cx="5112568" cy="780554"/>
      </dsp:txXfrm>
    </dsp:sp>
    <dsp:sp modelId="{CE7AE94A-2056-491A-8097-A9835F8B667B}">
      <dsp:nvSpPr>
        <dsp:cNvPr id="0" name=""/>
        <dsp:cNvSpPr/>
      </dsp:nvSpPr>
      <dsp:spPr>
        <a:xfrm rot="10800000">
          <a:off x="0" y="2381775"/>
          <a:ext cx="5112568" cy="1201278"/>
        </a:xfrm>
        <a:prstGeom prst="upArrowCallou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threePt" dir="t">
            <a:rot lat="0" lon="0" rev="7500000"/>
          </a:lightRig>
        </a:scene3d>
        <a:sp3d prstMaterial="plastic">
          <a:bevelT w="127000" h="25400" prst="relaxedInset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92024" tIns="192024" rIns="192024" bIns="192024" numCol="1" spcCol="1270" anchor="ctr" anchorCtr="0">
          <a:noAutofit/>
        </a:bodyPr>
        <a:lstStyle/>
        <a:p>
          <a:pPr marL="0" lvl="0" indent="0" algn="ctr" defTabSz="1200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2700" b="1" kern="1200" dirty="0"/>
            <a:t>HT + (HT x Taux de TVA) = TTC</a:t>
          </a:r>
        </a:p>
      </dsp:txBody>
      <dsp:txXfrm rot="10800000">
        <a:off x="0" y="2381775"/>
        <a:ext cx="5112568" cy="780554"/>
      </dsp:txXfrm>
    </dsp:sp>
    <dsp:sp modelId="{52FB9DCC-6E62-4B5C-843A-6DB1FD40FD19}">
      <dsp:nvSpPr>
        <dsp:cNvPr id="0" name=""/>
        <dsp:cNvSpPr/>
      </dsp:nvSpPr>
      <dsp:spPr>
        <a:xfrm rot="10800000">
          <a:off x="0" y="1192212"/>
          <a:ext cx="5112568" cy="1201278"/>
        </a:xfrm>
        <a:prstGeom prst="upArrowCallout">
          <a:avLst/>
        </a:prstGeom>
        <a:gradFill rotWithShape="0">
          <a:gsLst>
            <a:gs pos="0">
              <a:schemeClr val="accent5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5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5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threePt" dir="t">
            <a:rot lat="0" lon="0" rev="7500000"/>
          </a:lightRig>
        </a:scene3d>
        <a:sp3d prstMaterial="plastic">
          <a:bevelT w="127000" h="25400" prst="relaxedInset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92024" tIns="192024" rIns="192024" bIns="192024" numCol="1" spcCol="1270" anchor="ctr" anchorCtr="0">
          <a:noAutofit/>
        </a:bodyPr>
        <a:lstStyle/>
        <a:p>
          <a:pPr marL="0" lvl="0" indent="0" algn="ctr" defTabSz="1200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2700" b="1" kern="1200" dirty="0"/>
            <a:t>HT x Taux de TVA = TVA</a:t>
          </a:r>
        </a:p>
      </dsp:txBody>
      <dsp:txXfrm rot="10800000">
        <a:off x="0" y="1192212"/>
        <a:ext cx="5112568" cy="780554"/>
      </dsp:txXfrm>
    </dsp:sp>
    <dsp:sp modelId="{B95D6CE2-45F4-469B-AB3D-57D59BF9F2C6}">
      <dsp:nvSpPr>
        <dsp:cNvPr id="0" name=""/>
        <dsp:cNvSpPr/>
      </dsp:nvSpPr>
      <dsp:spPr>
        <a:xfrm rot="10800000">
          <a:off x="0" y="2650"/>
          <a:ext cx="5112568" cy="1201278"/>
        </a:xfrm>
        <a:prstGeom prst="upArrowCallout">
          <a:avLst/>
        </a:prstGeom>
        <a:gradFill rotWithShape="0">
          <a:gsLst>
            <a:gs pos="0">
              <a:schemeClr val="accent6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6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6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threePt" dir="t">
            <a:rot lat="0" lon="0" rev="7500000"/>
          </a:lightRig>
        </a:scene3d>
        <a:sp3d prstMaterial="plastic">
          <a:bevelT w="127000" h="25400" prst="relaxedInset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92024" tIns="192024" rIns="192024" bIns="192024" numCol="1" spcCol="1270" anchor="ctr" anchorCtr="0">
          <a:noAutofit/>
        </a:bodyPr>
        <a:lstStyle/>
        <a:p>
          <a:pPr marL="0" lvl="0" indent="0" algn="ctr" defTabSz="1200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2700" b="1" kern="1200" dirty="0"/>
            <a:t>HT + TVA = TTC</a:t>
          </a:r>
        </a:p>
      </dsp:txBody>
      <dsp:txXfrm rot="10800000">
        <a:off x="0" y="2650"/>
        <a:ext cx="5112568" cy="780554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DD56498-76C6-4323-93A9-4640F3721F8F}">
      <dsp:nvSpPr>
        <dsp:cNvPr id="0" name=""/>
        <dsp:cNvSpPr/>
      </dsp:nvSpPr>
      <dsp:spPr>
        <a:xfrm>
          <a:off x="0" y="4760900"/>
          <a:ext cx="3672408" cy="781065"/>
        </a:xfrm>
        <a:prstGeom prst="rect">
          <a:avLst/>
        </a:prstGeom>
        <a:gradFill rotWithShape="0">
          <a:gsLst>
            <a:gs pos="0">
              <a:schemeClr val="accent2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2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2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70688" tIns="170688" rIns="170688" bIns="170688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2400" b="1" kern="1200" dirty="0"/>
            <a:t>120 / 1,2 = 100 €</a:t>
          </a:r>
        </a:p>
      </dsp:txBody>
      <dsp:txXfrm>
        <a:off x="0" y="4760900"/>
        <a:ext cx="3672408" cy="781065"/>
      </dsp:txXfrm>
    </dsp:sp>
    <dsp:sp modelId="{EF5A2A74-FDAD-42E5-9CF9-03D7B9F1E5E7}">
      <dsp:nvSpPr>
        <dsp:cNvPr id="0" name=""/>
        <dsp:cNvSpPr/>
      </dsp:nvSpPr>
      <dsp:spPr>
        <a:xfrm rot="10800000">
          <a:off x="0" y="3600396"/>
          <a:ext cx="3672408" cy="1201278"/>
        </a:xfrm>
        <a:prstGeom prst="upArrowCallout">
          <a:avLst/>
        </a:prstGeom>
        <a:gradFill rotWithShape="0">
          <a:gsLst>
            <a:gs pos="0">
              <a:schemeClr val="accent3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3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3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70688" tIns="170688" rIns="170688" bIns="170688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2400" b="1" kern="1200" dirty="0"/>
            <a:t>100 x (1 + 0,2) = 120 €</a:t>
          </a:r>
        </a:p>
      </dsp:txBody>
      <dsp:txXfrm rot="10800000">
        <a:off x="0" y="3600396"/>
        <a:ext cx="3672408" cy="780554"/>
      </dsp:txXfrm>
    </dsp:sp>
    <dsp:sp modelId="{CE7AE94A-2056-491A-8097-A9835F8B667B}">
      <dsp:nvSpPr>
        <dsp:cNvPr id="0" name=""/>
        <dsp:cNvSpPr/>
      </dsp:nvSpPr>
      <dsp:spPr>
        <a:xfrm rot="10800000">
          <a:off x="0" y="2381775"/>
          <a:ext cx="3672408" cy="1201278"/>
        </a:xfrm>
        <a:prstGeom prst="upArrowCallou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4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70688" tIns="170688" rIns="170688" bIns="170688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2400" b="1" kern="1200" dirty="0"/>
            <a:t>100 + (100 x 20%) = 120 €</a:t>
          </a:r>
        </a:p>
      </dsp:txBody>
      <dsp:txXfrm rot="10800000">
        <a:off x="0" y="2381775"/>
        <a:ext cx="3672408" cy="780554"/>
      </dsp:txXfrm>
    </dsp:sp>
    <dsp:sp modelId="{52FB9DCC-6E62-4B5C-843A-6DB1FD40FD19}">
      <dsp:nvSpPr>
        <dsp:cNvPr id="0" name=""/>
        <dsp:cNvSpPr/>
      </dsp:nvSpPr>
      <dsp:spPr>
        <a:xfrm rot="10800000">
          <a:off x="0" y="1188128"/>
          <a:ext cx="3672408" cy="1201278"/>
        </a:xfrm>
        <a:prstGeom prst="upArrowCallout">
          <a:avLst/>
        </a:prstGeom>
        <a:gradFill rotWithShape="0">
          <a:gsLst>
            <a:gs pos="0">
              <a:schemeClr val="accent5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5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5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70688" tIns="170688" rIns="170688" bIns="170688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2400" b="1" kern="1200" dirty="0"/>
            <a:t>100 x 20 % = 20 €</a:t>
          </a:r>
        </a:p>
      </dsp:txBody>
      <dsp:txXfrm rot="10800000">
        <a:off x="0" y="1188128"/>
        <a:ext cx="3672408" cy="780554"/>
      </dsp:txXfrm>
    </dsp:sp>
    <dsp:sp modelId="{B95D6CE2-45F4-469B-AB3D-57D59BF9F2C6}">
      <dsp:nvSpPr>
        <dsp:cNvPr id="0" name=""/>
        <dsp:cNvSpPr/>
      </dsp:nvSpPr>
      <dsp:spPr>
        <a:xfrm rot="10800000">
          <a:off x="0" y="0"/>
          <a:ext cx="3672408" cy="1201278"/>
        </a:xfrm>
        <a:prstGeom prst="upArrowCallout">
          <a:avLst/>
        </a:prstGeom>
        <a:gradFill rotWithShape="0">
          <a:gsLst>
            <a:gs pos="0">
              <a:schemeClr val="accent6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6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6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70688" tIns="170688" rIns="170688" bIns="170688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2400" b="1" kern="1200" dirty="0"/>
            <a:t>100 + 20 = 120 €</a:t>
          </a:r>
        </a:p>
      </dsp:txBody>
      <dsp:txXfrm rot="10800000">
        <a:off x="0" y="0"/>
        <a:ext cx="3672408" cy="780554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horzAlign" val="l"/>
          <dgm:param type="nodeHorzAlign" val="l"/>
        </dgm:alg>
      </dgm:if>
      <dgm:else name="Name2">
        <dgm:alg type="lin">
          <dgm:param type="linDir" val="fromT"/>
          <dgm:param type="vertAlign" val="mid"/>
          <dgm:param type="horzAlign" val="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horzAlign" val="l"/>
              <dgm:param type="nodeHorzAlign" val="l"/>
            </dgm:alg>
          </dgm:if>
          <dgm:else name="Name6">
            <dgm:alg type="lin">
              <dgm:param type="linDir" val="fromR"/>
              <dgm:param type="horzAlign" val="r"/>
              <dgm:param type="node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vList5">
  <dgm:title val=""/>
  <dgm:desc val=""/>
  <dgm:catLst>
    <dgm:cat type="list" pri="15000"/>
    <dgm:cat type="convert" pri="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>
          <dgm:param type="linDir" val="fromT"/>
          <dgm:param type="nodeHorzAlign" val="l"/>
        </dgm:alg>
      </dgm:if>
      <dgm:else name="Name3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linNode" refType="h"/>
      <dgm:constr type="w" for="ch" forName="linNode" refType="w"/>
      <dgm:constr type="h" for="ch" forName="sp" refType="h" fact="0.05"/>
      <dgm:constr type="primFontSz" for="des" forName="parentText" op="equ" val="65"/>
      <dgm:constr type="secFontSz" for="des" forName="descendantText" op="equ"/>
    </dgm:constrLst>
    <dgm:ruleLst/>
    <dgm:forEach name="Name4" axis="ch" ptType="node">
      <dgm:layoutNode name="linNode">
        <dgm:choose name="Name5">
          <dgm:if name="Name6" func="var" arg="dir" op="equ" val="norm">
            <dgm:alg type="lin">
              <dgm:param type="linDir" val="fromL"/>
            </dgm:alg>
          </dgm:if>
          <dgm:else name="Name7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forName="parentText" refType="w" fact="0.36"/>
          <dgm:constr type="w" for="ch" forName="descendantText" refType="w" fact="0.64"/>
          <dgm:constr type="h" for="ch" forName="parentText" refType="h"/>
          <dgm:constr type="h" for="ch" forName="descendantText" refType="h" refFor="ch" refForName="parentText" fact="0.8"/>
        </dgm:constrLst>
        <dgm:ruleLst/>
        <dgm:layoutNode name="parentText">
          <dgm:varLst>
            <dgm:chMax val="1"/>
            <dgm:bulletEnabled val="1"/>
          </dgm:varLst>
          <dgm:alg type="tx"/>
          <dgm:shape xmlns:r="http://schemas.openxmlformats.org/officeDocument/2006/relationships" type="roundRect" r:blip="" zOrderOff="3">
            <dgm:adjLst/>
          </dgm:shape>
          <dgm:presOf axis="self" ptType="node"/>
          <dgm:constrLst>
            <dgm:constr type="tMarg" refType="primFontSz" fact="0.15"/>
            <dgm:constr type="bMarg" refType="primFontSz" fact="0.15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choose name="Name8">
          <dgm:if name="Name9" axis="ch" ptType="node" func="cnt" op="gte" val="1">
            <dgm:layoutNode name="descendantText" styleLbl="alignAccFollowNode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choose name="Name10">
                <dgm:if name="Name11" func="var" arg="dir" op="equ" val="norm">
                  <dgm:shape xmlns:r="http://schemas.openxmlformats.org/officeDocument/2006/relationships" rot="90" type="round2SameRect" r:blip="">
                    <dgm:adjLst/>
                  </dgm:shape>
                </dgm:if>
                <dgm:else name="Name12">
                  <dgm:shape xmlns:r="http://schemas.openxmlformats.org/officeDocument/2006/relationships" rot="-90" type="round2SameRect" r:blip="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lMarg" refType="secFontSz" fact="0.3"/>
                <dgm:constr type="rMarg" refType="secFontSz" fact="0.3"/>
                <dgm:constr type="tMarg" refType="secFontSz" fact="0.15"/>
                <dgm:constr type="bMarg" refType="secFontSz" fact="0.15"/>
              </dgm:constrLst>
              <dgm:ruleLst>
                <dgm:rule type="secFontSz" val="5" fact="NaN" max="NaN"/>
              </dgm:ruleLst>
            </dgm:layoutNode>
          </dgm:if>
          <dgm:else name="Name13"/>
        </dgm:choose>
      </dgm:layoutNode>
      <dgm:forEach name="Name14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process4">
  <dgm:title val=""/>
  <dgm:desc val=""/>
  <dgm:catLst>
    <dgm:cat type="process" pri="16000"/>
    <dgm:cat type="list" pri="20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alg type="lin">
      <dgm:param type="linDir" val="fromB"/>
    </dgm:alg>
    <dgm:shape xmlns:r="http://schemas.openxmlformats.org/officeDocument/2006/relationships" r:blip="">
      <dgm:adjLst/>
    </dgm:shape>
    <dgm:presOf/>
    <dgm:constrLst>
      <dgm:constr type="h" for="ch" forName="boxAndChildren" refType="h"/>
      <dgm:constr type="h" for="ch" forName="arrowAndChildren" refType="h" refFor="ch" refForName="boxAndChildren" op="equ" fact="1.538"/>
      <dgm:constr type="w" for="ch" forName="arrowAndChildren" refType="w"/>
      <dgm:constr type="w" for="ch" forName="boxAndChildren" refType="w"/>
      <dgm:constr type="h" for="ch" forName="sp" refType="h" fact="-0.015"/>
      <dgm:constr type="primFontSz" for="des" forName="parentTextBox" val="65"/>
      <dgm:constr type="primFontSz" for="des" forName="parentTextArrow" refType="primFontSz" refFor="des" refForName="parentTextBox" op="equ"/>
      <dgm:constr type="primFontSz" for="des" forName="childTextArrow" val="65"/>
      <dgm:constr type="primFontSz" for="des" forName="childTextBox" refType="primFontSz" refFor="des" refForName="childTextArrow" op="equ"/>
    </dgm:constrLst>
    <dgm:ruleLst/>
    <dgm:forEach name="Name1" axis="ch" ptType="node" st="-1" step="-1">
      <dgm:choose name="Name2">
        <dgm:if name="Name3" axis="self" ptType="node" func="revPos" op="equ" val="1">
          <dgm:layoutNode name="boxAndChildren">
            <dgm:alg type="composite"/>
            <dgm:shape xmlns:r="http://schemas.openxmlformats.org/officeDocument/2006/relationships" r:blip="">
              <dgm:adjLst/>
            </dgm:shape>
            <dgm:presOf/>
            <dgm:choose name="Name4">
              <dgm:if name="Name5" axis="ch" ptType="node" func="cnt" op="gte" val="1">
                <dgm:constrLst>
                  <dgm:constr type="w" for="ch" forName="parentTextBox" refType="w"/>
                  <dgm:constr type="h" for="ch" forName="parentTextBox" refType="h" fact="0.54"/>
                  <dgm:constr type="t" for="ch" forName="parentTextBox"/>
                  <dgm:constr type="w" for="ch" forName="entireBox" refType="w"/>
                  <dgm:constr type="h" for="ch" forName="entireBox" refType="h"/>
                  <dgm:constr type="w" for="ch" forName="descendantBox" refType="w"/>
                  <dgm:constr type="b" for="ch" forName="descendantBox" refType="h" fact="0.98"/>
                  <dgm:constr type="h" for="ch" forName="descendantBox" refType="h" fact="0.46"/>
                </dgm:constrLst>
              </dgm:if>
              <dgm:else name="Name6">
                <dgm:constrLst>
                  <dgm:constr type="w" for="ch" forName="parentTextBox" refType="w"/>
                  <dgm:constr type="h" for="ch" forName="parentTextBox" refType="h"/>
                </dgm:constrLst>
              </dgm:else>
            </dgm:choose>
            <dgm:ruleLst/>
            <dgm:layoutNode name="parentTextBox">
              <dgm:alg type="tx"/>
              <dgm:choose name="Name7">
                <dgm:if name="Name8" axis="ch" ptType="node" func="cnt" op="gte" val="1">
                  <dgm:shape xmlns:r="http://schemas.openxmlformats.org/officeDocument/2006/relationships" type="rect" r:blip="" zOrderOff="1" hideGeom="1">
                    <dgm:adjLst/>
                  </dgm:shape>
                </dgm:if>
                <dgm:else name="Name9">
                  <dgm:shape xmlns:r="http://schemas.openxmlformats.org/officeDocument/2006/relationships" type="rect" r:blip="">
                    <dgm:adjLst/>
                  </dgm:shape>
                </dgm:else>
              </dgm:choose>
              <dgm:presOf axis="self"/>
              <dgm:constrLst/>
              <dgm:ruleLst>
                <dgm:rule type="primFontSz" val="5" fact="NaN" max="NaN"/>
              </dgm:ruleLst>
            </dgm:layoutNode>
            <dgm:choose name="Name10">
              <dgm:if name="Name11" axis="ch" ptType="node" func="cnt" op="gte" val="1">
                <dgm:layoutNode name="entireBox">
                  <dgm:alg type="sp"/>
                  <dgm:shape xmlns:r="http://schemas.openxmlformats.org/officeDocument/2006/relationships" type="rect" r:blip="">
                    <dgm:adjLst/>
                  </dgm:shape>
                  <dgm:presOf axis="self"/>
                  <dgm:constrLst/>
                  <dgm:ruleLst/>
                </dgm:layoutNode>
                <dgm:layoutNode name="descendantBox" styleLbl="fgAccFollowNode1">
                  <dgm:choose name="Name12">
                    <dgm:if name="Name13" func="var" arg="dir" op="equ" val="norm">
                      <dgm:alg type="lin"/>
                    </dgm:if>
                    <dgm:else name="Name14">
                      <dgm:alg type="lin">
                        <dgm:param type="linDir" val="fromR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w" for="ch" forName="childTextBox" refType="w"/>
                    <dgm:constr type="h" for="ch" forName="childTextBox" refType="h"/>
                  </dgm:constrLst>
                  <dgm:ruleLst/>
                  <dgm:forEach name="Name15" axis="ch" ptType="node">
                    <dgm:layoutNode name="childTextBox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rect" r:blip="">
                        <dgm:adjLst/>
                      </dgm:shape>
                      <dgm:presOf axis="desOrSelf" ptType="node"/>
                      <dgm:constrLst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</dgm:forEach>
                </dgm:layoutNode>
              </dgm:if>
              <dgm:else name="Name16"/>
            </dgm:choose>
          </dgm:layoutNode>
        </dgm:if>
        <dgm:else name="Name17">
          <dgm:layoutNode name="arrowAndChildren">
            <dgm:alg type="composite"/>
            <dgm:shape xmlns:r="http://schemas.openxmlformats.org/officeDocument/2006/relationships" r:blip="">
              <dgm:adjLst/>
            </dgm:shape>
            <dgm:presOf/>
            <dgm:choose name="Name18">
              <dgm:if name="Name19" axis="ch" ptType="node" func="cnt" op="gte" val="1">
                <dgm:constrLst>
                  <dgm:constr type="w" for="ch" forName="parentTextArrow" refType="w"/>
                  <dgm:constr type="t" for="ch" forName="parentTextArrow"/>
                  <dgm:constr type="h" for="ch" forName="parentTextArrow" refType="h" fact="0.351"/>
                  <dgm:constr type="w" for="ch" forName="arrow" refType="w"/>
                  <dgm:constr type="h" for="ch" forName="arrow" refType="h"/>
                  <dgm:constr type="w" for="ch" forName="descendantArrow" refType="w"/>
                  <dgm:constr type="b" for="ch" forName="descendantArrow" refType="h" fact="0.65"/>
                  <dgm:constr type="h" for="ch" forName="descendantArrow" refType="h" fact="0.299"/>
                </dgm:constrLst>
              </dgm:if>
              <dgm:else name="Name20">
                <dgm:constrLst>
                  <dgm:constr type="w" for="ch" forName="parentTextArrow" refType="w"/>
                  <dgm:constr type="h" for="ch" forName="parentTextArrow" refType="h"/>
                </dgm:constrLst>
              </dgm:else>
            </dgm:choose>
            <dgm:ruleLst/>
            <dgm:layoutNode name="parentTextArrow">
              <dgm:alg type="tx"/>
              <dgm:choose name="Name21">
                <dgm:if name="Name22" axis="ch" ptType="node" func="cnt" op="gte" val="1">
                  <dgm:shape xmlns:r="http://schemas.openxmlformats.org/officeDocument/2006/relationships" type="rect" r:blip="" zOrderOff="1" hideGeom="1">
                    <dgm:adjLst/>
                  </dgm:shape>
                </dgm:if>
                <dgm:else name="Name23">
                  <dgm:shape xmlns:r="http://schemas.openxmlformats.org/officeDocument/2006/relationships" rot="180" type="upArrowCallout" r:blip="">
                    <dgm:adjLst/>
                  </dgm:shape>
                </dgm:else>
              </dgm:choose>
              <dgm:presOf axis="self"/>
              <dgm:constrLst/>
              <dgm:ruleLst>
                <dgm:rule type="primFontSz" val="5" fact="NaN" max="NaN"/>
              </dgm:ruleLst>
            </dgm:layoutNode>
            <dgm:choose name="Name24">
              <dgm:if name="Name25" axis="ch" ptType="node" func="cnt" op="gte" val="1">
                <dgm:layoutNode name="arrow">
                  <dgm:alg type="sp"/>
                  <dgm:shape xmlns:r="http://schemas.openxmlformats.org/officeDocument/2006/relationships" rot="180" type="upArrowCallout" r:blip="">
                    <dgm:adjLst/>
                  </dgm:shape>
                  <dgm:presOf axis="self"/>
                  <dgm:constrLst/>
                  <dgm:ruleLst/>
                </dgm:layoutNode>
                <dgm:layoutNode name="descendantArrow">
                  <dgm:choose name="Name26">
                    <dgm:if name="Name27" func="var" arg="dir" op="equ" val="norm">
                      <dgm:alg type="lin"/>
                    </dgm:if>
                    <dgm:else name="Name28">
                      <dgm:alg type="lin">
                        <dgm:param type="linDir" val="fromR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w" for="ch" forName="childTextArrow" refType="w"/>
                    <dgm:constr type="h" for="ch" forName="childTextArrow" refType="h"/>
                  </dgm:constrLst>
                  <dgm:ruleLst/>
                  <dgm:forEach name="Name29" axis="ch" ptType="node">
                    <dgm:layoutNode name="childTextArrow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rect" r:blip="">
                        <dgm:adjLst/>
                      </dgm:shape>
                      <dgm:presOf axis="desOrSelf" ptType="node"/>
                      <dgm:constrLst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</dgm:forEach>
                </dgm:layoutNode>
              </dgm:if>
              <dgm:else name="Name30"/>
            </dgm:choose>
          </dgm:layoutNode>
        </dgm:else>
      </dgm:choose>
      <dgm:forEach name="Name31" axis="precedSib" ptType="sibTrans" st="-1" cnt="1">
        <dgm:layoutNode name="sp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process4">
  <dgm:title val=""/>
  <dgm:desc val=""/>
  <dgm:catLst>
    <dgm:cat type="process" pri="16000"/>
    <dgm:cat type="list" pri="20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alg type="lin">
      <dgm:param type="linDir" val="fromB"/>
    </dgm:alg>
    <dgm:shape xmlns:r="http://schemas.openxmlformats.org/officeDocument/2006/relationships" r:blip="">
      <dgm:adjLst/>
    </dgm:shape>
    <dgm:presOf/>
    <dgm:constrLst>
      <dgm:constr type="h" for="ch" forName="boxAndChildren" refType="h"/>
      <dgm:constr type="h" for="ch" forName="arrowAndChildren" refType="h" refFor="ch" refForName="boxAndChildren" op="equ" fact="1.538"/>
      <dgm:constr type="w" for="ch" forName="arrowAndChildren" refType="w"/>
      <dgm:constr type="w" for="ch" forName="boxAndChildren" refType="w"/>
      <dgm:constr type="h" for="ch" forName="sp" refType="h" fact="-0.015"/>
      <dgm:constr type="primFontSz" for="des" forName="parentTextBox" val="65"/>
      <dgm:constr type="primFontSz" for="des" forName="parentTextArrow" refType="primFontSz" refFor="des" refForName="parentTextBox" op="equ"/>
      <dgm:constr type="primFontSz" for="des" forName="childTextArrow" val="65"/>
      <dgm:constr type="primFontSz" for="des" forName="childTextBox" refType="primFontSz" refFor="des" refForName="childTextArrow" op="equ"/>
    </dgm:constrLst>
    <dgm:ruleLst/>
    <dgm:forEach name="Name1" axis="ch" ptType="node" st="-1" step="-1">
      <dgm:choose name="Name2">
        <dgm:if name="Name3" axis="self" ptType="node" func="revPos" op="equ" val="1">
          <dgm:layoutNode name="boxAndChildren">
            <dgm:alg type="composite"/>
            <dgm:shape xmlns:r="http://schemas.openxmlformats.org/officeDocument/2006/relationships" r:blip="">
              <dgm:adjLst/>
            </dgm:shape>
            <dgm:presOf/>
            <dgm:choose name="Name4">
              <dgm:if name="Name5" axis="ch" ptType="node" func="cnt" op="gte" val="1">
                <dgm:constrLst>
                  <dgm:constr type="w" for="ch" forName="parentTextBox" refType="w"/>
                  <dgm:constr type="h" for="ch" forName="parentTextBox" refType="h" fact="0.54"/>
                  <dgm:constr type="t" for="ch" forName="parentTextBox"/>
                  <dgm:constr type="w" for="ch" forName="entireBox" refType="w"/>
                  <dgm:constr type="h" for="ch" forName="entireBox" refType="h"/>
                  <dgm:constr type="w" for="ch" forName="descendantBox" refType="w"/>
                  <dgm:constr type="b" for="ch" forName="descendantBox" refType="h" fact="0.98"/>
                  <dgm:constr type="h" for="ch" forName="descendantBox" refType="h" fact="0.46"/>
                </dgm:constrLst>
              </dgm:if>
              <dgm:else name="Name6">
                <dgm:constrLst>
                  <dgm:constr type="w" for="ch" forName="parentTextBox" refType="w"/>
                  <dgm:constr type="h" for="ch" forName="parentTextBox" refType="h"/>
                </dgm:constrLst>
              </dgm:else>
            </dgm:choose>
            <dgm:ruleLst/>
            <dgm:layoutNode name="parentTextBox">
              <dgm:alg type="tx"/>
              <dgm:choose name="Name7">
                <dgm:if name="Name8" axis="ch" ptType="node" func="cnt" op="gte" val="1">
                  <dgm:shape xmlns:r="http://schemas.openxmlformats.org/officeDocument/2006/relationships" type="rect" r:blip="" zOrderOff="1" hideGeom="1">
                    <dgm:adjLst/>
                  </dgm:shape>
                </dgm:if>
                <dgm:else name="Name9">
                  <dgm:shape xmlns:r="http://schemas.openxmlformats.org/officeDocument/2006/relationships" type="rect" r:blip="">
                    <dgm:adjLst/>
                  </dgm:shape>
                </dgm:else>
              </dgm:choose>
              <dgm:presOf axis="self"/>
              <dgm:constrLst/>
              <dgm:ruleLst>
                <dgm:rule type="primFontSz" val="5" fact="NaN" max="NaN"/>
              </dgm:ruleLst>
            </dgm:layoutNode>
            <dgm:choose name="Name10">
              <dgm:if name="Name11" axis="ch" ptType="node" func="cnt" op="gte" val="1">
                <dgm:layoutNode name="entireBox">
                  <dgm:alg type="sp"/>
                  <dgm:shape xmlns:r="http://schemas.openxmlformats.org/officeDocument/2006/relationships" type="rect" r:blip="">
                    <dgm:adjLst/>
                  </dgm:shape>
                  <dgm:presOf axis="self"/>
                  <dgm:constrLst/>
                  <dgm:ruleLst/>
                </dgm:layoutNode>
                <dgm:layoutNode name="descendantBox" styleLbl="fgAccFollowNode1">
                  <dgm:choose name="Name12">
                    <dgm:if name="Name13" func="var" arg="dir" op="equ" val="norm">
                      <dgm:alg type="lin"/>
                    </dgm:if>
                    <dgm:else name="Name14">
                      <dgm:alg type="lin">
                        <dgm:param type="linDir" val="fromR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w" for="ch" forName="childTextBox" refType="w"/>
                    <dgm:constr type="h" for="ch" forName="childTextBox" refType="h"/>
                  </dgm:constrLst>
                  <dgm:ruleLst/>
                  <dgm:forEach name="Name15" axis="ch" ptType="node">
                    <dgm:layoutNode name="childTextBox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rect" r:blip="">
                        <dgm:adjLst/>
                      </dgm:shape>
                      <dgm:presOf axis="desOrSelf" ptType="node"/>
                      <dgm:constrLst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</dgm:forEach>
                </dgm:layoutNode>
              </dgm:if>
              <dgm:else name="Name16"/>
            </dgm:choose>
          </dgm:layoutNode>
        </dgm:if>
        <dgm:else name="Name17">
          <dgm:layoutNode name="arrowAndChildren">
            <dgm:alg type="composite"/>
            <dgm:shape xmlns:r="http://schemas.openxmlformats.org/officeDocument/2006/relationships" r:blip="">
              <dgm:adjLst/>
            </dgm:shape>
            <dgm:presOf/>
            <dgm:choose name="Name18">
              <dgm:if name="Name19" axis="ch" ptType="node" func="cnt" op="gte" val="1">
                <dgm:constrLst>
                  <dgm:constr type="w" for="ch" forName="parentTextArrow" refType="w"/>
                  <dgm:constr type="t" for="ch" forName="parentTextArrow"/>
                  <dgm:constr type="h" for="ch" forName="parentTextArrow" refType="h" fact="0.351"/>
                  <dgm:constr type="w" for="ch" forName="arrow" refType="w"/>
                  <dgm:constr type="h" for="ch" forName="arrow" refType="h"/>
                  <dgm:constr type="w" for="ch" forName="descendantArrow" refType="w"/>
                  <dgm:constr type="b" for="ch" forName="descendantArrow" refType="h" fact="0.65"/>
                  <dgm:constr type="h" for="ch" forName="descendantArrow" refType="h" fact="0.299"/>
                </dgm:constrLst>
              </dgm:if>
              <dgm:else name="Name20">
                <dgm:constrLst>
                  <dgm:constr type="w" for="ch" forName="parentTextArrow" refType="w"/>
                  <dgm:constr type="h" for="ch" forName="parentTextArrow" refType="h"/>
                </dgm:constrLst>
              </dgm:else>
            </dgm:choose>
            <dgm:ruleLst/>
            <dgm:layoutNode name="parentTextArrow">
              <dgm:alg type="tx"/>
              <dgm:choose name="Name21">
                <dgm:if name="Name22" axis="ch" ptType="node" func="cnt" op="gte" val="1">
                  <dgm:shape xmlns:r="http://schemas.openxmlformats.org/officeDocument/2006/relationships" type="rect" r:blip="" zOrderOff="1" hideGeom="1">
                    <dgm:adjLst/>
                  </dgm:shape>
                </dgm:if>
                <dgm:else name="Name23">
                  <dgm:shape xmlns:r="http://schemas.openxmlformats.org/officeDocument/2006/relationships" rot="180" type="upArrowCallout" r:blip="">
                    <dgm:adjLst/>
                  </dgm:shape>
                </dgm:else>
              </dgm:choose>
              <dgm:presOf axis="self"/>
              <dgm:constrLst/>
              <dgm:ruleLst>
                <dgm:rule type="primFontSz" val="5" fact="NaN" max="NaN"/>
              </dgm:ruleLst>
            </dgm:layoutNode>
            <dgm:choose name="Name24">
              <dgm:if name="Name25" axis="ch" ptType="node" func="cnt" op="gte" val="1">
                <dgm:layoutNode name="arrow">
                  <dgm:alg type="sp"/>
                  <dgm:shape xmlns:r="http://schemas.openxmlformats.org/officeDocument/2006/relationships" rot="180" type="upArrowCallout" r:blip="">
                    <dgm:adjLst/>
                  </dgm:shape>
                  <dgm:presOf axis="self"/>
                  <dgm:constrLst/>
                  <dgm:ruleLst/>
                </dgm:layoutNode>
                <dgm:layoutNode name="descendantArrow">
                  <dgm:choose name="Name26">
                    <dgm:if name="Name27" func="var" arg="dir" op="equ" val="norm">
                      <dgm:alg type="lin"/>
                    </dgm:if>
                    <dgm:else name="Name28">
                      <dgm:alg type="lin">
                        <dgm:param type="linDir" val="fromR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w" for="ch" forName="childTextArrow" refType="w"/>
                    <dgm:constr type="h" for="ch" forName="childTextArrow" refType="h"/>
                  </dgm:constrLst>
                  <dgm:ruleLst/>
                  <dgm:forEach name="Name29" axis="ch" ptType="node">
                    <dgm:layoutNode name="childTextArrow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rect" r:blip="">
                        <dgm:adjLst/>
                      </dgm:shape>
                      <dgm:presOf axis="desOrSelf" ptType="node"/>
                      <dgm:constrLst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</dgm:forEach>
                </dgm:layoutNode>
              </dgm:if>
              <dgm:else name="Name30"/>
            </dgm:choose>
          </dgm:layoutNode>
        </dgm:else>
      </dgm:choose>
      <dgm:forEach name="Name31" axis="precedSib" ptType="sibTrans" st="-1" cnt="1">
        <dgm:layoutNode name="sp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3d2">
  <dgm:title val=""/>
  <dgm:desc val=""/>
  <dgm:catLst>
    <dgm:cat type="3D" pri="11200"/>
  </dgm:catLst>
  <dgm:scene3d>
    <a:camera prst="orthographicFront"/>
    <a:lightRig rig="threePt" dir="t"/>
  </dgm:scene3d>
  <dgm:styleLbl name="node0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tx1"/>
      </a:fontRef>
    </dgm:style>
  </dgm:styleLbl>
  <dgm:styleLbl name="aling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>
        <a:rot lat="0" lon="0" rev="7500000"/>
      </a:lightRig>
    </dgm:scene3d>
    <dgm:sp3d z="152400"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>
        <a:rot lat="0" lon="0" rev="7500000"/>
      </a:lightRig>
    </dgm:scene3d>
    <dgm:sp3d z="254000"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>
        <a:rot lat="0" lon="0" rev="7500000"/>
      </a:lightRig>
    </dgm:scene3d>
    <dgm:sp3d z="-152400"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>
        <a:rot lat="0" lon="0" rev="7500000"/>
      </a:lightRig>
    </dgm:scene3d>
    <dgm:sp3d z="-70000" extrusionH="63500" prstMaterial="matte">
      <a:bevelT w="25400" h="63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>
        <a:rot lat="0" lon="0" rev="7500000"/>
      </a:lightRig>
    </dgm:scene3d>
    <dgm:sp3d z="152400" extrusionH="63500" prstMaterial="matte">
      <a:bevelT w="25400" h="63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>
        <a:rot lat="0" lon="0" rev="7500000"/>
      </a:lightRig>
    </dgm:scene3d>
    <dgm:sp3d z="-152400" extrusionH="63500" prstMaterial="matte">
      <a:bevelT w="25400" h="63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>
        <a:rot lat="0" lon="0" rev="7500000"/>
      </a:lightRig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>
        <a:rot lat="0" lon="0" rev="7500000"/>
      </a:lightRig>
    </dgm:scene3d>
    <dgm:sp3d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>
        <a:rot lat="0" lon="0" rev="7500000"/>
      </a:lightRig>
    </dgm:scene3d>
    <dgm:sp3d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>
        <a:rot lat="0" lon="0" rev="7500000"/>
      </a:lightRig>
    </dgm:scene3d>
    <dgm:sp3d z="60000" prstMaterial="flat">
      <a:bevelT w="120900" h="88900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>
        <a:rot lat="0" lon="0" rev="7500000"/>
      </a:lightRig>
    </dgm:scene3d>
    <dgm:sp3d z="60000" prstMaterial="flat">
      <a:bevelT w="120900" h="88900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>
        <a:rot lat="0" lon="0" rev="7500000"/>
      </a:lightRig>
    </dgm:scene3d>
    <dgm:sp3d z="152400" extrusionH="63500" prstMaterial="dkEdge">
      <a:bevelT w="13540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>
        <a:rot lat="0" lon="0" rev="7500000"/>
      </a:lightRig>
    </dgm:scene3d>
    <dgm:sp3d z="152400" extrusionH="63500" prstMaterial="dkEdge">
      <a:bevelT w="13540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>
        <a:rot lat="0" lon="0" rev="7500000"/>
      </a:lightRig>
    </dgm:scene3d>
    <dgm:sp3d extrusionH="190500" prstMaterial="dkEdge">
      <a:bevelT w="13540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>
        <a:rot lat="0" lon="0" rev="7500000"/>
      </a:lightRig>
    </dgm:scene3d>
    <dgm:sp3d prstMaterial="plastic">
      <a:bevelT w="127000" h="354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Acc1">
    <dgm:scene3d>
      <a:camera prst="orthographicFront"/>
      <a:lightRig rig="threePt" dir="t">
        <a:rot lat="0" lon="0" rev="7500000"/>
      </a:lightRig>
    </dgm:scene3d>
    <dgm:sp3d z="-152400" extrusionH="63500" prstMaterial="dkEdge">
      <a:bevelT w="12445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>
        <a:rot lat="0" lon="0" rev="7500000"/>
      </a:lightRig>
    </dgm:scene3d>
    <dgm:sp3d z="152400" extrusionH="63500" prstMaterial="dkEdge">
      <a:bevelT w="120800" h="190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>
        <a:rot lat="0" lon="0" rev="7500000"/>
      </a:lightRig>
    </dgm:scene3d>
    <dgm:sp3d extrusionH="190500" prstMaterial="dkEdge">
      <a:bevelT w="120650" h="3810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BgAcc1">
    <dgm:scene3d>
      <a:camera prst="orthographicFront"/>
      <a:lightRig rig="threePt" dir="t">
        <a:rot lat="0" lon="0" rev="7500000"/>
      </a:lightRig>
    </dgm:scene3d>
    <dgm:sp3d z="-152400" extrusionH="63500" prstMaterial="dkEdge">
      <a:bevelT w="14445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>
        <a:rot lat="0" lon="0" rev="7500000"/>
      </a:lightRig>
    </dgm:scene3d>
    <dgm:sp3d extrusionH="190500" prstMaterial="dkEdge">
      <a:bevelT w="120650" h="38100" prst="relaxedInset"/>
      <a:bevelB w="120650" h="571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>
        <a:rot lat="0" lon="0" rev="7500000"/>
      </a:lightRig>
    </dgm:scene3d>
    <dgm:sp3d z="-152400" extrusionH="63500" prstMaterial="dkEdge">
      <a:bevelT w="14445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>
        <a:rot lat="0" lon="0" rev="7500000"/>
      </a:lightRig>
    </dgm:scene3d>
    <dgm:sp3d z="-152400" extrusionH="63500" prstMaterial="matte">
      <a:bevelT w="144450" h="6350" prst="relaxedInset"/>
      <a:contourClr>
        <a:schemeClr val="bg1"/>
      </a:contourClr>
    </dgm:sp3d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  <a:bevelB w="88900" h="121750" prst="angle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trBgShp">
    <dgm:scene3d>
      <a:camera prst="orthographicFront"/>
      <a:lightRig rig="threePt" dir="t"/>
    </dgm:scene3d>
    <dgm:sp3d z="-1524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>
        <a:rot lat="0" lon="0" rev="7500000"/>
      </a:lightRig>
    </dgm:scene3d>
    <dgm:sp3d z="152400"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3d2">
  <dgm:title val=""/>
  <dgm:desc val=""/>
  <dgm:catLst>
    <dgm:cat type="3D" pri="11200"/>
  </dgm:catLst>
  <dgm:scene3d>
    <a:camera prst="orthographicFront"/>
    <a:lightRig rig="threePt" dir="t"/>
  </dgm:scene3d>
  <dgm:styleLbl name="node0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tx1"/>
      </a:fontRef>
    </dgm:style>
  </dgm:styleLbl>
  <dgm:styleLbl name="aling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>
        <a:rot lat="0" lon="0" rev="7500000"/>
      </a:lightRig>
    </dgm:scene3d>
    <dgm:sp3d z="152400"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>
        <a:rot lat="0" lon="0" rev="7500000"/>
      </a:lightRig>
    </dgm:scene3d>
    <dgm:sp3d z="254000"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>
        <a:rot lat="0" lon="0" rev="7500000"/>
      </a:lightRig>
    </dgm:scene3d>
    <dgm:sp3d z="-152400"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>
        <a:rot lat="0" lon="0" rev="7500000"/>
      </a:lightRig>
    </dgm:scene3d>
    <dgm:sp3d z="-70000" extrusionH="63500" prstMaterial="matte">
      <a:bevelT w="25400" h="63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>
        <a:rot lat="0" lon="0" rev="7500000"/>
      </a:lightRig>
    </dgm:scene3d>
    <dgm:sp3d z="152400" extrusionH="63500" prstMaterial="matte">
      <a:bevelT w="25400" h="63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>
        <a:rot lat="0" lon="0" rev="7500000"/>
      </a:lightRig>
    </dgm:scene3d>
    <dgm:sp3d z="-152400" extrusionH="63500" prstMaterial="matte">
      <a:bevelT w="25400" h="63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>
        <a:rot lat="0" lon="0" rev="7500000"/>
      </a:lightRig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>
        <a:rot lat="0" lon="0" rev="7500000"/>
      </a:lightRig>
    </dgm:scene3d>
    <dgm:sp3d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>
        <a:rot lat="0" lon="0" rev="7500000"/>
      </a:lightRig>
    </dgm:scene3d>
    <dgm:sp3d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>
        <a:rot lat="0" lon="0" rev="7500000"/>
      </a:lightRig>
    </dgm:scene3d>
    <dgm:sp3d z="60000" prstMaterial="flat">
      <a:bevelT w="120900" h="88900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>
        <a:rot lat="0" lon="0" rev="7500000"/>
      </a:lightRig>
    </dgm:scene3d>
    <dgm:sp3d z="60000" prstMaterial="flat">
      <a:bevelT w="120900" h="88900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>
        <a:rot lat="0" lon="0" rev="7500000"/>
      </a:lightRig>
    </dgm:scene3d>
    <dgm:sp3d z="152400" extrusionH="63500" prstMaterial="dkEdge">
      <a:bevelT w="13540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>
        <a:rot lat="0" lon="0" rev="7500000"/>
      </a:lightRig>
    </dgm:scene3d>
    <dgm:sp3d z="152400" extrusionH="63500" prstMaterial="dkEdge">
      <a:bevelT w="13540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>
        <a:rot lat="0" lon="0" rev="7500000"/>
      </a:lightRig>
    </dgm:scene3d>
    <dgm:sp3d extrusionH="190500" prstMaterial="dkEdge">
      <a:bevelT w="13540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>
        <a:rot lat="0" lon="0" rev="7500000"/>
      </a:lightRig>
    </dgm:scene3d>
    <dgm:sp3d prstMaterial="plastic">
      <a:bevelT w="127000" h="354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Acc1">
    <dgm:scene3d>
      <a:camera prst="orthographicFront"/>
      <a:lightRig rig="threePt" dir="t">
        <a:rot lat="0" lon="0" rev="7500000"/>
      </a:lightRig>
    </dgm:scene3d>
    <dgm:sp3d z="-152400" extrusionH="63500" prstMaterial="dkEdge">
      <a:bevelT w="12445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>
        <a:rot lat="0" lon="0" rev="7500000"/>
      </a:lightRig>
    </dgm:scene3d>
    <dgm:sp3d z="152400" extrusionH="63500" prstMaterial="dkEdge">
      <a:bevelT w="120800" h="190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>
        <a:rot lat="0" lon="0" rev="7500000"/>
      </a:lightRig>
    </dgm:scene3d>
    <dgm:sp3d extrusionH="190500" prstMaterial="dkEdge">
      <a:bevelT w="120650" h="3810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BgAcc1">
    <dgm:scene3d>
      <a:camera prst="orthographicFront"/>
      <a:lightRig rig="threePt" dir="t">
        <a:rot lat="0" lon="0" rev="7500000"/>
      </a:lightRig>
    </dgm:scene3d>
    <dgm:sp3d z="-152400" extrusionH="63500" prstMaterial="dkEdge">
      <a:bevelT w="14445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>
        <a:rot lat="0" lon="0" rev="7500000"/>
      </a:lightRig>
    </dgm:scene3d>
    <dgm:sp3d extrusionH="190500" prstMaterial="dkEdge">
      <a:bevelT w="120650" h="38100" prst="relaxedInset"/>
      <a:bevelB w="120650" h="571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>
        <a:rot lat="0" lon="0" rev="7500000"/>
      </a:lightRig>
    </dgm:scene3d>
    <dgm:sp3d z="-152400" extrusionH="63500" prstMaterial="dkEdge">
      <a:bevelT w="14445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>
        <a:rot lat="0" lon="0" rev="7500000"/>
      </a:lightRig>
    </dgm:scene3d>
    <dgm:sp3d z="-152400" extrusionH="63500" prstMaterial="matte">
      <a:bevelT w="144450" h="6350" prst="relaxedInset"/>
      <a:contourClr>
        <a:schemeClr val="bg1"/>
      </a:contourClr>
    </dgm:sp3d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  <a:bevelB w="88900" h="121750" prst="angle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trBgShp">
    <dgm:scene3d>
      <a:camera prst="orthographicFront"/>
      <a:lightRig rig="threePt" dir="t"/>
    </dgm:scene3d>
    <dgm:sp3d z="-1524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>
        <a:rot lat="0" lon="0" rev="7500000"/>
      </a:lightRig>
    </dgm:scene3d>
    <dgm:sp3d z="152400"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3">
  <dgm:title val=""/>
  <dgm:desc val=""/>
  <dgm:catLst>
    <dgm:cat type="simple" pri="103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lnNode1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dk1"/>
      </a:fontRef>
    </dgm:style>
  </dgm:styleLbl>
  <dgm:styleLbl name="venn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C74E31-4102-4DAB-AA30-205A8BC854D4}" type="datetimeFigureOut">
              <a:rPr lang="fr-FR" smtClean="0"/>
              <a:t>26/03/2021</a:t>
            </a:fld>
            <a:endParaRPr lang="fr-FR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FR"/>
          </a:p>
        </p:txBody>
      </p:sp>
      <p:sp>
        <p:nvSpPr>
          <p:cNvPr id="5" name="Espace réservé des not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C99E81F-EEE6-4E3A-AE16-C0BE10FF1680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26540239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C99E81F-EEE6-4E3A-AE16-C0BE10FF1680}" type="slidenum">
              <a:rPr lang="fr-FR" smtClean="0"/>
              <a:t>1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46677021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C99E81F-EEE6-4E3A-AE16-C0BE10FF1680}" type="slidenum">
              <a:rPr lang="fr-FR" smtClean="0"/>
              <a:t>3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71252186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C99E81F-EEE6-4E3A-AE16-C0BE10FF1680}" type="slidenum">
              <a:rPr lang="fr-FR" smtClean="0"/>
              <a:t>32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402395424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C99E81F-EEE6-4E3A-AE16-C0BE10FF1680}" type="slidenum">
              <a:rPr lang="fr-FR" smtClean="0"/>
              <a:t>37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6185398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C99E81F-EEE6-4E3A-AE16-C0BE10FF1680}" type="slidenum">
              <a:rPr lang="fr-FR" smtClean="0"/>
              <a:t>38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28476184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C99E81F-EEE6-4E3A-AE16-C0BE10FF1680}" type="slidenum">
              <a:rPr lang="fr-FR" smtClean="0"/>
              <a:t>42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69833550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9C7BD57D-84CD-4DA6-ACCF-8CEC063D82A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Sous-titre 2">
            <a:extLst>
              <a:ext uri="{FF2B5EF4-FFF2-40B4-BE49-F238E27FC236}">
                <a16:creationId xmlns:a16="http://schemas.microsoft.com/office/drawing/2014/main" id="{9D19402C-4986-4F03-B149-B59478CBC58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/>
              <a:t>Modifiez le style des sous-titres du masque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316A17A5-4404-44D9-B645-2177629EB8B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AAC662-8F7E-46FF-BF45-54D2733F0C8C}" type="datetimeFigureOut">
              <a:rPr lang="fr-FR" smtClean="0"/>
              <a:t>26/03/2021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8036A295-F235-411B-8653-78D5CFEBA5D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14D0148C-2377-437A-9B96-C1D01D45C6C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70A9C33-773E-4B08-A2CE-4F0FB0936678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99241787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re et texte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50CF77D9-A2E2-47AF-9DA6-3E88E50EDD3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vertical 2">
            <a:extLst>
              <a:ext uri="{FF2B5EF4-FFF2-40B4-BE49-F238E27FC236}">
                <a16:creationId xmlns:a16="http://schemas.microsoft.com/office/drawing/2014/main" id="{2BF1DE80-A284-4C12-8998-96E09ECD2B36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C39B5A0B-FBB5-4756-860F-875AB0CB745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AAC662-8F7E-46FF-BF45-54D2733F0C8C}" type="datetimeFigureOut">
              <a:rPr lang="fr-FR" smtClean="0"/>
              <a:t>26/03/2021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442CC808-89A4-47E4-B295-3F9116F8297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3D55BD20-72DC-487C-8B40-787775EBCBD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70A9C33-773E-4B08-A2CE-4F0FB0936678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92548052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itre vertical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vertical 1">
            <a:extLst>
              <a:ext uri="{FF2B5EF4-FFF2-40B4-BE49-F238E27FC236}">
                <a16:creationId xmlns:a16="http://schemas.microsoft.com/office/drawing/2014/main" id="{C2353EA2-D366-4F02-B08A-5FEED95BD9E3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vertical 2">
            <a:extLst>
              <a:ext uri="{FF2B5EF4-FFF2-40B4-BE49-F238E27FC236}">
                <a16:creationId xmlns:a16="http://schemas.microsoft.com/office/drawing/2014/main" id="{94DA6CD5-251E-4DFA-B380-5EB213029465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A85B917B-2B60-4988-B84F-D3AFCB1DD9D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AAC662-8F7E-46FF-BF45-54D2733F0C8C}" type="datetimeFigureOut">
              <a:rPr lang="fr-FR" smtClean="0"/>
              <a:t>26/03/2021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9FB53DFA-3E34-4A01-A1E8-6D7B7445732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D8A9D7E8-2346-4B4B-9CF9-1C67D6668C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70A9C33-773E-4B08-A2CE-4F0FB0936678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56226237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10363200" cy="1470025"/>
          </a:xfrm>
        </p:spPr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/>
              <a:t>Modifiez le style des sous-titres du masque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302334-7E8B-4320-A1E2-4B05AC15A670}" type="datetimeFigureOut">
              <a:rPr lang="fr-FR" smtClean="0"/>
              <a:pPr/>
              <a:t>26/03/2021</a:t>
            </a:fld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8582E2-60D7-40E7-AECB-CED9E7320F8D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99391473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302334-7E8B-4320-A1E2-4B05AC15A670}" type="datetimeFigureOut">
              <a:rPr lang="fr-FR" smtClean="0"/>
              <a:pPr/>
              <a:t>26/03/2021</a:t>
            </a:fld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8582E2-60D7-40E7-AECB-CED9E7320F8D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34554457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302334-7E8B-4320-A1E2-4B05AC15A670}" type="datetimeFigureOut">
              <a:rPr lang="fr-FR" smtClean="0"/>
              <a:pPr/>
              <a:t>26/03/2021</a:t>
            </a:fld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8582E2-60D7-40E7-AECB-CED9E7320F8D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34084277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609600" y="1600201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6197600" y="1600201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302334-7E8B-4320-A1E2-4B05AC15A670}" type="datetimeFigureOut">
              <a:rPr lang="fr-FR" smtClean="0"/>
              <a:pPr/>
              <a:t>26/03/2021</a:t>
            </a:fld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8582E2-60D7-40E7-AECB-CED9E7320F8D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12779534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3"/>
          </p:nvPr>
        </p:nvSpPr>
        <p:spPr>
          <a:xfrm>
            <a:off x="6193368" y="1535113"/>
            <a:ext cx="5389033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4"/>
          </p:nvPr>
        </p:nvSpPr>
        <p:spPr>
          <a:xfrm>
            <a:off x="6193368" y="21748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7" name="Espace réservé de la date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302334-7E8B-4320-A1E2-4B05AC15A670}" type="datetimeFigureOut">
              <a:rPr lang="fr-FR" smtClean="0"/>
              <a:pPr/>
              <a:t>26/03/2021</a:t>
            </a:fld>
            <a:endParaRPr lang="fr-FR"/>
          </a:p>
        </p:txBody>
      </p:sp>
      <p:sp>
        <p:nvSpPr>
          <p:cNvPr id="8" name="Espace réservé du pied de page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8582E2-60D7-40E7-AECB-CED9E7320F8D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11636196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302334-7E8B-4320-A1E2-4B05AC15A670}" type="datetimeFigureOut">
              <a:rPr lang="fr-FR" smtClean="0"/>
              <a:pPr/>
              <a:t>26/03/2021</a:t>
            </a:fld>
            <a:endParaRPr lang="fr-FR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8582E2-60D7-40E7-AECB-CED9E7320F8D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24761822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302334-7E8B-4320-A1E2-4B05AC15A670}" type="datetimeFigureOut">
              <a:rPr lang="fr-FR" smtClean="0"/>
              <a:pPr/>
              <a:t>26/03/2021</a:t>
            </a:fld>
            <a:endParaRPr lang="fr-FR"/>
          </a:p>
        </p:txBody>
      </p:sp>
      <p:sp>
        <p:nvSpPr>
          <p:cNvPr id="3" name="Espace réservé du pied de page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8582E2-60D7-40E7-AECB-CED9E7320F8D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76424206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609601" y="273050"/>
            <a:ext cx="4011084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4766733" y="273051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609601" y="1435101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302334-7E8B-4320-A1E2-4B05AC15A670}" type="datetimeFigureOut">
              <a:rPr lang="fr-FR" smtClean="0"/>
              <a:pPr/>
              <a:t>26/03/2021</a:t>
            </a:fld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8582E2-60D7-40E7-AECB-CED9E7320F8D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62207015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7CD533BA-64DD-46E7-AC37-8284A1B923A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C5FA018E-EDA2-4960-8996-9D0F0B37136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C1E258E7-ED34-4740-9A51-3EF63654899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AAC662-8F7E-46FF-BF45-54D2733F0C8C}" type="datetimeFigureOut">
              <a:rPr lang="fr-FR" smtClean="0"/>
              <a:t>26/03/2021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FE4DA7DE-70E6-4FC4-AEB8-2B4A910288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874F055B-A12A-40C8-913E-87AC2D74D60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70A9C33-773E-4B08-A2CE-4F0FB0936678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694264340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Espace réservé pour une image 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fr-FR"/>
              <a:t>Cliquez sur l'icône pour ajouter une image</a:t>
            </a:r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302334-7E8B-4320-A1E2-4B05AC15A670}" type="datetimeFigureOut">
              <a:rPr lang="fr-FR" smtClean="0"/>
              <a:pPr/>
              <a:t>26/03/2021</a:t>
            </a:fld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8582E2-60D7-40E7-AECB-CED9E7320F8D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89294965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re et texte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302334-7E8B-4320-A1E2-4B05AC15A670}" type="datetimeFigureOut">
              <a:rPr lang="fr-FR" smtClean="0"/>
              <a:pPr/>
              <a:t>26/03/2021</a:t>
            </a:fld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8582E2-60D7-40E7-AECB-CED9E7320F8D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97502114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itre vertical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vertical 1"/>
          <p:cNvSpPr>
            <a:spLocks noGrp="1"/>
          </p:cNvSpPr>
          <p:nvPr>
            <p:ph type="title" orient="vert"/>
          </p:nvPr>
        </p:nvSpPr>
        <p:spPr>
          <a:xfrm>
            <a:off x="8839200" y="274639"/>
            <a:ext cx="2743200" cy="5851525"/>
          </a:xfrm>
        </p:spPr>
        <p:txBody>
          <a:bodyPr vert="eaVert"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>
          <a:xfrm>
            <a:off x="609600" y="274639"/>
            <a:ext cx="8026400" cy="5851525"/>
          </a:xfrm>
        </p:spPr>
        <p:txBody>
          <a:bodyPr vert="eaVert"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302334-7E8B-4320-A1E2-4B05AC15A670}" type="datetimeFigureOut">
              <a:rPr lang="fr-FR" smtClean="0"/>
              <a:pPr/>
              <a:t>26/03/2021</a:t>
            </a:fld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8582E2-60D7-40E7-AECB-CED9E7320F8D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52316730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10363200" cy="1470025"/>
          </a:xfrm>
        </p:spPr>
        <p:txBody>
          <a:bodyPr/>
          <a:lstStyle/>
          <a:p>
            <a:r>
              <a:rPr lang="fr-FR"/>
              <a:t>Cliquez pour modifier le style du titre</a:t>
            </a:r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/>
              <a:t>Cliquez pour modifier le style des sous-titres du masque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9E57B79-3F79-4FAA-96AD-F8E93C37DE5B}" type="datetimeFigureOut">
              <a:rPr lang="fr-FR" smtClean="0"/>
              <a:pPr/>
              <a:t>26/03/2021</a:t>
            </a:fld>
            <a:endParaRPr lang="fr-FR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3AE209-B4BA-4EDE-BFD3-3B111034EB5F}" type="slidenum">
              <a:rPr lang="fr-FR" smtClean="0"/>
              <a:pPr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501676829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Cliquez pour modifier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9E57B79-3F79-4FAA-96AD-F8E93C37DE5B}" type="datetimeFigureOut">
              <a:rPr lang="fr-FR" smtClean="0"/>
              <a:pPr/>
              <a:t>26/03/2021</a:t>
            </a:fld>
            <a:endParaRPr lang="fr-FR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3AE209-B4BA-4EDE-BFD3-3B111034EB5F}" type="slidenum">
              <a:rPr lang="fr-FR" smtClean="0"/>
              <a:pPr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4099615374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fr-FR"/>
              <a:t>Cliquez pour modifier le style du titre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9E57B79-3F79-4FAA-96AD-F8E93C37DE5B}" type="datetimeFigureOut">
              <a:rPr lang="fr-FR" smtClean="0"/>
              <a:pPr/>
              <a:t>26/03/2021</a:t>
            </a:fld>
            <a:endParaRPr lang="fr-FR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3AE209-B4BA-4EDE-BFD3-3B111034EB5F}" type="slidenum">
              <a:rPr lang="fr-FR" smtClean="0"/>
              <a:pPr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657292247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Cliquez pour modifier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609600" y="1600201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6197600" y="1600201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9E57B79-3F79-4FAA-96AD-F8E93C37DE5B}" type="datetimeFigureOut">
              <a:rPr lang="fr-FR" smtClean="0"/>
              <a:pPr/>
              <a:t>26/03/2021</a:t>
            </a:fld>
            <a:endParaRPr lang="fr-FR" dirty="0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3AE209-B4BA-4EDE-BFD3-3B111034EB5F}" type="slidenum">
              <a:rPr lang="fr-FR" smtClean="0"/>
              <a:pPr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67705918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/>
              <a:t>Cliquez pour modifier le style du titre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3"/>
          </p:nvPr>
        </p:nvSpPr>
        <p:spPr>
          <a:xfrm>
            <a:off x="6193368" y="1535113"/>
            <a:ext cx="5389033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4"/>
          </p:nvPr>
        </p:nvSpPr>
        <p:spPr>
          <a:xfrm>
            <a:off x="6193368" y="21748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7" name="Espace réservé de la date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9E57B79-3F79-4FAA-96AD-F8E93C37DE5B}" type="datetimeFigureOut">
              <a:rPr lang="fr-FR" smtClean="0"/>
              <a:pPr/>
              <a:t>26/03/2021</a:t>
            </a:fld>
            <a:endParaRPr lang="fr-FR" dirty="0"/>
          </a:p>
        </p:txBody>
      </p:sp>
      <p:sp>
        <p:nvSpPr>
          <p:cNvPr id="8" name="Espace réservé du pied de page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3AE209-B4BA-4EDE-BFD3-3B111034EB5F}" type="slidenum">
              <a:rPr lang="fr-FR" smtClean="0"/>
              <a:pPr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040196531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Cliquez pour modifier le style du titre</a:t>
            </a:r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9E57B79-3F79-4FAA-96AD-F8E93C37DE5B}" type="datetimeFigureOut">
              <a:rPr lang="fr-FR" smtClean="0"/>
              <a:pPr/>
              <a:t>26/03/2021</a:t>
            </a:fld>
            <a:endParaRPr lang="fr-FR" dirty="0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3AE209-B4BA-4EDE-BFD3-3B111034EB5F}" type="slidenum">
              <a:rPr lang="fr-FR" smtClean="0"/>
              <a:pPr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905162884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9E57B79-3F79-4FAA-96AD-F8E93C37DE5B}" type="datetimeFigureOut">
              <a:rPr lang="fr-FR" smtClean="0"/>
              <a:pPr/>
              <a:t>26/03/2021</a:t>
            </a:fld>
            <a:endParaRPr lang="fr-FR" dirty="0"/>
          </a:p>
        </p:txBody>
      </p:sp>
      <p:sp>
        <p:nvSpPr>
          <p:cNvPr id="3" name="Espace réservé du pied de page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3AE209-B4BA-4EDE-BFD3-3B111034EB5F}" type="slidenum">
              <a:rPr lang="fr-FR" smtClean="0"/>
              <a:pPr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03219281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1DA53301-5DB9-4753-ABD4-856DD5147A9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86065A32-834F-432D-A0D3-7ECBC848C5A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A616BCDE-E203-48ED-B45F-9D93DC3EF89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AAC662-8F7E-46FF-BF45-54D2733F0C8C}" type="datetimeFigureOut">
              <a:rPr lang="fr-FR" smtClean="0"/>
              <a:t>26/03/2021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944B27C3-8E90-44EF-B2A0-1D4A9700A96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45169281-95B4-43D4-BD98-2009AB077C0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70A9C33-773E-4B08-A2CE-4F0FB0936678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686540213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609601" y="273050"/>
            <a:ext cx="4011084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fr-FR"/>
              <a:t>Cliquez pour modifier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4766733" y="273051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609601" y="1435101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9E57B79-3F79-4FAA-96AD-F8E93C37DE5B}" type="datetimeFigureOut">
              <a:rPr lang="fr-FR" smtClean="0"/>
              <a:pPr/>
              <a:t>26/03/2021</a:t>
            </a:fld>
            <a:endParaRPr lang="fr-FR" dirty="0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3AE209-B4BA-4EDE-BFD3-3B111034EB5F}" type="slidenum">
              <a:rPr lang="fr-FR" smtClean="0"/>
              <a:pPr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349092936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fr-FR"/>
              <a:t>Cliquez pour modifier le style du titre</a:t>
            </a:r>
          </a:p>
        </p:txBody>
      </p:sp>
      <p:sp>
        <p:nvSpPr>
          <p:cNvPr id="3" name="Espace réservé pour une image 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fr-FR" dirty="0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9E57B79-3F79-4FAA-96AD-F8E93C37DE5B}" type="datetimeFigureOut">
              <a:rPr lang="fr-FR" smtClean="0"/>
              <a:pPr/>
              <a:t>26/03/2021</a:t>
            </a:fld>
            <a:endParaRPr lang="fr-FR" dirty="0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3AE209-B4BA-4EDE-BFD3-3B111034EB5F}" type="slidenum">
              <a:rPr lang="fr-FR" smtClean="0"/>
              <a:pPr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661997866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re et texte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Cliquez pour modifier le style du titre</a:t>
            </a:r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9E57B79-3F79-4FAA-96AD-F8E93C37DE5B}" type="datetimeFigureOut">
              <a:rPr lang="fr-FR" smtClean="0"/>
              <a:pPr/>
              <a:t>26/03/2021</a:t>
            </a:fld>
            <a:endParaRPr lang="fr-FR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3AE209-B4BA-4EDE-BFD3-3B111034EB5F}" type="slidenum">
              <a:rPr lang="fr-FR" smtClean="0"/>
              <a:pPr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752016465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itre vertical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vertical 1"/>
          <p:cNvSpPr>
            <a:spLocks noGrp="1"/>
          </p:cNvSpPr>
          <p:nvPr>
            <p:ph type="title" orient="vert"/>
          </p:nvPr>
        </p:nvSpPr>
        <p:spPr>
          <a:xfrm>
            <a:off x="8839200" y="274639"/>
            <a:ext cx="2743200" cy="5851525"/>
          </a:xfrm>
        </p:spPr>
        <p:txBody>
          <a:bodyPr vert="eaVert"/>
          <a:lstStyle/>
          <a:p>
            <a:r>
              <a:rPr lang="fr-FR"/>
              <a:t>Cliquez pour modifier le style du titre</a:t>
            </a:r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>
          <a:xfrm>
            <a:off x="609600" y="274639"/>
            <a:ext cx="8026400" cy="5851525"/>
          </a:xfrm>
        </p:spPr>
        <p:txBody>
          <a:bodyPr vert="eaVert"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9E57B79-3F79-4FAA-96AD-F8E93C37DE5B}" type="datetimeFigureOut">
              <a:rPr lang="fr-FR" smtClean="0"/>
              <a:pPr/>
              <a:t>26/03/2021</a:t>
            </a:fld>
            <a:endParaRPr lang="fr-FR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3AE209-B4BA-4EDE-BFD3-3B111034EB5F}" type="slidenum">
              <a:rPr lang="fr-FR" smtClean="0"/>
              <a:pPr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96446085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1D3EE1FC-395B-4804-BCED-98B869CA37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ED30819D-33A8-4726-B505-831ADB90F9E3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u contenu 3">
            <a:extLst>
              <a:ext uri="{FF2B5EF4-FFF2-40B4-BE49-F238E27FC236}">
                <a16:creationId xmlns:a16="http://schemas.microsoft.com/office/drawing/2014/main" id="{C727D8D7-37DF-475A-8F8B-107336CE7F1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5" name="Espace réservé de la date 4">
            <a:extLst>
              <a:ext uri="{FF2B5EF4-FFF2-40B4-BE49-F238E27FC236}">
                <a16:creationId xmlns:a16="http://schemas.microsoft.com/office/drawing/2014/main" id="{626DA209-39AA-44B8-BA06-71668A7279E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AAC662-8F7E-46FF-BF45-54D2733F0C8C}" type="datetimeFigureOut">
              <a:rPr lang="fr-FR" smtClean="0"/>
              <a:t>26/03/2021</a:t>
            </a:fld>
            <a:endParaRPr lang="fr-FR"/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3E701A22-5ACC-4505-9A5B-EFFCF1BEE09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5A5BF9EC-FDAE-4527-A964-C32D4D8856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70A9C33-773E-4B08-A2CE-4F0FB0936678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67245939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A1E377DA-C3AC-4A42-9312-85C3B28A1D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8EECFD34-CCC4-4C10-95D2-1DCC3D87556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4" name="Espace réservé du contenu 3">
            <a:extLst>
              <a:ext uri="{FF2B5EF4-FFF2-40B4-BE49-F238E27FC236}">
                <a16:creationId xmlns:a16="http://schemas.microsoft.com/office/drawing/2014/main" id="{4D248D42-AEE2-48BB-B8A6-37B3BF1EC78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id="{EFF54CA6-B4B3-4EBE-BAA9-8A083AD04B01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6" name="Espace réservé du contenu 5">
            <a:extLst>
              <a:ext uri="{FF2B5EF4-FFF2-40B4-BE49-F238E27FC236}">
                <a16:creationId xmlns:a16="http://schemas.microsoft.com/office/drawing/2014/main" id="{CB67F1B9-3210-4603-A593-82AA1477977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7" name="Espace réservé de la date 6">
            <a:extLst>
              <a:ext uri="{FF2B5EF4-FFF2-40B4-BE49-F238E27FC236}">
                <a16:creationId xmlns:a16="http://schemas.microsoft.com/office/drawing/2014/main" id="{A4FE2936-F0AC-4E86-9BB9-6C88937F173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AAC662-8F7E-46FF-BF45-54D2733F0C8C}" type="datetimeFigureOut">
              <a:rPr lang="fr-FR" smtClean="0"/>
              <a:t>26/03/2021</a:t>
            </a:fld>
            <a:endParaRPr lang="fr-FR"/>
          </a:p>
        </p:txBody>
      </p:sp>
      <p:sp>
        <p:nvSpPr>
          <p:cNvPr id="8" name="Espace réservé du pied de page 7">
            <a:extLst>
              <a:ext uri="{FF2B5EF4-FFF2-40B4-BE49-F238E27FC236}">
                <a16:creationId xmlns:a16="http://schemas.microsoft.com/office/drawing/2014/main" id="{D4B4DA8C-4CAE-47BB-B5D8-D3CD8CA087D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8F733564-54DF-4A81-A1E0-E16BDFCCC38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70A9C33-773E-4B08-A2CE-4F0FB0936678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98560091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96106E18-40BE-4CE6-A1DE-51E2FCB71EA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e la date 2">
            <a:extLst>
              <a:ext uri="{FF2B5EF4-FFF2-40B4-BE49-F238E27FC236}">
                <a16:creationId xmlns:a16="http://schemas.microsoft.com/office/drawing/2014/main" id="{CC9E90AC-A901-4B3B-8F1A-62F80383E91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AAC662-8F7E-46FF-BF45-54D2733F0C8C}" type="datetimeFigureOut">
              <a:rPr lang="fr-FR" smtClean="0"/>
              <a:t>26/03/2021</a:t>
            </a:fld>
            <a:endParaRPr lang="fr-FR"/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6B69960F-910E-441F-9234-4EFA0317497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6DEAD386-BAAD-4887-AEC1-ACEC7AC7507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70A9C33-773E-4B08-A2CE-4F0FB0936678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07084217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1">
            <a:extLst>
              <a:ext uri="{FF2B5EF4-FFF2-40B4-BE49-F238E27FC236}">
                <a16:creationId xmlns:a16="http://schemas.microsoft.com/office/drawing/2014/main" id="{CEA3A60B-5261-4319-9606-C7A19FE79FF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AAC662-8F7E-46FF-BF45-54D2733F0C8C}" type="datetimeFigureOut">
              <a:rPr lang="fr-FR" smtClean="0"/>
              <a:t>26/03/2021</a:t>
            </a:fld>
            <a:endParaRPr lang="fr-FR"/>
          </a:p>
        </p:txBody>
      </p:sp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7CD7E47D-E0D5-4EA3-A174-877281D1E4A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BBBA8F0E-BF11-4E0E-B6B3-0C4D3ED9AD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70A9C33-773E-4B08-A2CE-4F0FB0936678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0942316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10D5B282-2CDC-43BA-91BF-BB825DDC357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4B2B1462-82C2-41F9-B928-24CD0E058B1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F8E6443F-D9C8-4B0A-A85E-AFB98C17849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5" name="Espace réservé de la date 4">
            <a:extLst>
              <a:ext uri="{FF2B5EF4-FFF2-40B4-BE49-F238E27FC236}">
                <a16:creationId xmlns:a16="http://schemas.microsoft.com/office/drawing/2014/main" id="{E58546B2-B4AD-4632-A7F6-E278F595C80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AAC662-8F7E-46FF-BF45-54D2733F0C8C}" type="datetimeFigureOut">
              <a:rPr lang="fr-FR" smtClean="0"/>
              <a:t>26/03/2021</a:t>
            </a:fld>
            <a:endParaRPr lang="fr-FR"/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F95E8C30-5617-4C3D-86F5-1BB6370D380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9698214D-67A4-4095-A830-2541FC31FF5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70A9C33-773E-4B08-A2CE-4F0FB0936678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73199852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4B9969A8-DB1E-4329-86AA-AAC523FDA27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Espace réservé pour une image  2">
            <a:extLst>
              <a:ext uri="{FF2B5EF4-FFF2-40B4-BE49-F238E27FC236}">
                <a16:creationId xmlns:a16="http://schemas.microsoft.com/office/drawing/2014/main" id="{47A97373-2753-4E91-A499-97DCFA713F07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fr-FR"/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4E0A5C63-7589-47D3-A6A8-2BAA1AA21CB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5" name="Espace réservé de la date 4">
            <a:extLst>
              <a:ext uri="{FF2B5EF4-FFF2-40B4-BE49-F238E27FC236}">
                <a16:creationId xmlns:a16="http://schemas.microsoft.com/office/drawing/2014/main" id="{6658AF3C-8B47-4456-B292-94827E8D006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AAC662-8F7E-46FF-BF45-54D2733F0C8C}" type="datetimeFigureOut">
              <a:rPr lang="fr-FR" smtClean="0"/>
              <a:t>26/03/2021</a:t>
            </a:fld>
            <a:endParaRPr lang="fr-FR"/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CA94149C-1965-48BE-A21B-231EFD4799E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C75B3F0F-B380-4E1B-AC33-1610717B8B2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70A9C33-773E-4B08-A2CE-4F0FB0936678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83553831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.xml"/><Relationship Id="rId3" Type="http://schemas.openxmlformats.org/officeDocument/2006/relationships/slideLayout" Target="../slideLayouts/slideLayout25.xml"/><Relationship Id="rId7" Type="http://schemas.openxmlformats.org/officeDocument/2006/relationships/slideLayout" Target="../slideLayouts/slideLayout29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24.xml"/><Relationship Id="rId1" Type="http://schemas.openxmlformats.org/officeDocument/2006/relationships/slideLayout" Target="../slideLayouts/slideLayout23.xml"/><Relationship Id="rId6" Type="http://schemas.openxmlformats.org/officeDocument/2006/relationships/slideLayout" Target="../slideLayouts/slideLayout28.xml"/><Relationship Id="rId11" Type="http://schemas.openxmlformats.org/officeDocument/2006/relationships/slideLayout" Target="../slideLayouts/slideLayout33.xml"/><Relationship Id="rId5" Type="http://schemas.openxmlformats.org/officeDocument/2006/relationships/slideLayout" Target="../slideLayouts/slideLayout27.xml"/><Relationship Id="rId10" Type="http://schemas.openxmlformats.org/officeDocument/2006/relationships/slideLayout" Target="../slideLayouts/slideLayout32.xml"/><Relationship Id="rId4" Type="http://schemas.openxmlformats.org/officeDocument/2006/relationships/slideLayout" Target="../slideLayouts/slideLayout26.xml"/><Relationship Id="rId9" Type="http://schemas.openxmlformats.org/officeDocument/2006/relationships/slideLayout" Target="../slideLayouts/slideLayout3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itre 1">
            <a:extLst>
              <a:ext uri="{FF2B5EF4-FFF2-40B4-BE49-F238E27FC236}">
                <a16:creationId xmlns:a16="http://schemas.microsoft.com/office/drawing/2014/main" id="{4B24DAE3-D939-4C4D-88F9-662ED8E02CC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E0D21944-0B8F-4C3A-9BCA-D8EF26A8310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5B3C1B60-F7FD-45E2-AFE6-969B7E482D0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4AAC662-8F7E-46FF-BF45-54D2733F0C8C}" type="datetimeFigureOut">
              <a:rPr lang="fr-FR" smtClean="0"/>
              <a:t>26/03/2021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666FD234-03EA-4C46-8B22-CFC6DD2300C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fr-FR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210ED5CD-B777-437E-B0F8-CFA32F5B355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70A9C33-773E-4B08-A2CE-4F0FB0936678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9818148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fr-FR"/>
              <a:t>Cliquez pour modifier le style du titre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609600" y="1600201"/>
            <a:ext cx="109728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2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3302334-7E8B-4320-A1E2-4B05AC15A670}" type="datetimeFigureOut">
              <a:rPr lang="fr-FR" smtClean="0"/>
              <a:pPr/>
              <a:t>26/03/2021</a:t>
            </a:fld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3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4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08582E2-60D7-40E7-AECB-CED9E7320F8D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77726466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fr-FR"/>
              <a:t>Cliquez pour modifier le style du titre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609600" y="1600201"/>
            <a:ext cx="109728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2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9E57B79-3F79-4FAA-96AD-F8E93C37DE5B}" type="datetimeFigureOut">
              <a:rPr lang="fr-FR" smtClean="0"/>
              <a:pPr/>
              <a:t>26/03/2021</a:t>
            </a:fld>
            <a:endParaRPr lang="fr-FR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3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fr-FR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4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83AE209-B4BA-4EDE-BFD3-3B111034EB5F}" type="slidenum">
              <a:rPr lang="fr-FR" smtClean="0"/>
              <a:pPr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30703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5" r:id="rId1"/>
    <p:sldLayoutId id="2147483686" r:id="rId2"/>
    <p:sldLayoutId id="2147483687" r:id="rId3"/>
    <p:sldLayoutId id="2147483688" r:id="rId4"/>
    <p:sldLayoutId id="2147483689" r:id="rId5"/>
    <p:sldLayoutId id="2147483690" r:id="rId6"/>
    <p:sldLayoutId id="2147483691" r:id="rId7"/>
    <p:sldLayoutId id="2147483692" r:id="rId8"/>
    <p:sldLayoutId id="2147483693" r:id="rId9"/>
    <p:sldLayoutId id="2147483694" r:id="rId10"/>
    <p:sldLayoutId id="2147483695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.xml"/><Relationship Id="rId5" Type="http://schemas.openxmlformats.org/officeDocument/2006/relationships/hyperlink" Target="https://www.infirmiers.com/votre-carriere/ide-liberale/la-comptabilite-infirmier-liberal-pourquoi-ne-pas-externaliser.html" TargetMode="External"/><Relationship Id="rId4" Type="http://schemas.openxmlformats.org/officeDocument/2006/relationships/image" Target="../media/image2.jpg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.xml"/><Relationship Id="rId5" Type="http://schemas.openxmlformats.org/officeDocument/2006/relationships/hyperlink" Target="https://www.infirmiers.com/votre-carriere/ide-liberale/la-comptabilite-infirmier-liberal-pourquoi-ne-pas-externaliser.html" TargetMode="External"/><Relationship Id="rId4" Type="http://schemas.openxmlformats.org/officeDocument/2006/relationships/image" Target="../media/image2.jpg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comments" Target="../comments/comment1.xml"/><Relationship Id="rId1" Type="http://schemas.openxmlformats.org/officeDocument/2006/relationships/slideLayout" Target="../slideLayouts/slideLayout2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.xml"/><Relationship Id="rId5" Type="http://schemas.openxmlformats.org/officeDocument/2006/relationships/hyperlink" Target="https://www.infirmiers.com/votre-carriere/ide-liberale/la-comptabilite-infirmier-liberal-pourquoi-ne-pas-externaliser.html" TargetMode="External"/><Relationship Id="rId4" Type="http://schemas.openxmlformats.org/officeDocument/2006/relationships/image" Target="../media/image2.jpg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.xml"/><Relationship Id="rId5" Type="http://schemas.openxmlformats.org/officeDocument/2006/relationships/hyperlink" Target="https://www.infirmiers.com/votre-carriere/ide-liberale/la-comptabilite-infirmier-liberal-pourquoi-ne-pas-externaliser.html" TargetMode="External"/><Relationship Id="rId4" Type="http://schemas.openxmlformats.org/officeDocument/2006/relationships/image" Target="../media/image2.jpg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23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0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4.xml"/><Relationship Id="rId3" Type="http://schemas.openxmlformats.org/officeDocument/2006/relationships/diagramLayout" Target="../diagrams/layout3.xml"/><Relationship Id="rId7" Type="http://schemas.openxmlformats.org/officeDocument/2006/relationships/diagramData" Target="../diagrams/data4.xml"/><Relationship Id="rId2" Type="http://schemas.openxmlformats.org/officeDocument/2006/relationships/diagramData" Target="../diagrams/data3.xml"/><Relationship Id="rId1" Type="http://schemas.openxmlformats.org/officeDocument/2006/relationships/slideLayout" Target="../slideLayouts/slideLayout23.xml"/><Relationship Id="rId6" Type="http://schemas.microsoft.com/office/2007/relationships/diagramDrawing" Target="../diagrams/drawing3.xml"/><Relationship Id="rId11" Type="http://schemas.microsoft.com/office/2007/relationships/diagramDrawing" Target="../diagrams/drawing4.xml"/><Relationship Id="rId5" Type="http://schemas.openxmlformats.org/officeDocument/2006/relationships/diagramColors" Target="../diagrams/colors3.xml"/><Relationship Id="rId10" Type="http://schemas.openxmlformats.org/officeDocument/2006/relationships/diagramColors" Target="../diagrams/colors4.xml"/><Relationship Id="rId4" Type="http://schemas.openxmlformats.org/officeDocument/2006/relationships/diagramQuickStyle" Target="../diagrams/quickStyle3.xml"/><Relationship Id="rId9" Type="http://schemas.openxmlformats.org/officeDocument/2006/relationships/diagramQuickStyle" Target="../diagrams/quickStyle4.xml"/></Relationships>
</file>

<file path=ppt/slides/_rels/slide4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.xml"/><Relationship Id="rId5" Type="http://schemas.openxmlformats.org/officeDocument/2006/relationships/hyperlink" Target="https://espritscience.blogspot.com/2008/01/du-rapport-des-temps.html" TargetMode="External"/><Relationship Id="rId4" Type="http://schemas.openxmlformats.org/officeDocument/2006/relationships/image" Target="../media/image9.jpg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tint val="95000"/>
            <a:satMod val="17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CF09AF2F-022D-42E7-9EE8-B11BCE898DA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464614" y="1783959"/>
            <a:ext cx="4087306" cy="2889114"/>
          </a:xfrm>
        </p:spPr>
        <p:txBody>
          <a:bodyPr anchor="b">
            <a:normAutofit fontScale="90000"/>
          </a:bodyPr>
          <a:lstStyle/>
          <a:p>
            <a:pPr algn="l"/>
            <a:r>
              <a:rPr lang="fr-FR" sz="5400" dirty="0">
                <a:latin typeface="Arial" panose="020B0604020202020204" pitchFamily="34" charset="0"/>
                <a:cs typeface="Arial" panose="020B0604020202020204" pitchFamily="34" charset="0"/>
              </a:rPr>
              <a:t>Université de Montpellier</a:t>
            </a:r>
            <a:br>
              <a:rPr lang="fr-FR" sz="5400" dirty="0"/>
            </a:br>
            <a:endParaRPr lang="fr-FR" sz="5400" dirty="0"/>
          </a:p>
        </p:txBody>
      </p:sp>
      <p:sp>
        <p:nvSpPr>
          <p:cNvPr id="3" name="Sous-titre 2">
            <a:extLst>
              <a:ext uri="{FF2B5EF4-FFF2-40B4-BE49-F238E27FC236}">
                <a16:creationId xmlns:a16="http://schemas.microsoft.com/office/drawing/2014/main" id="{21349F9F-31B4-41DC-B4DB-C097467B526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464612" y="4750893"/>
            <a:ext cx="4489965" cy="1147863"/>
          </a:xfrm>
        </p:spPr>
        <p:txBody>
          <a:bodyPr anchor="t">
            <a:normAutofit fontScale="70000" lnSpcReduction="20000"/>
          </a:bodyPr>
          <a:lstStyle/>
          <a:p>
            <a:pPr algn="l"/>
            <a:endParaRPr lang="fr-FR" sz="2000" dirty="0"/>
          </a:p>
          <a:p>
            <a:pPr algn="l"/>
            <a:r>
              <a:rPr lang="fr-FR" sz="4000" dirty="0">
                <a:latin typeface="Arial" panose="020B0604020202020204" pitchFamily="34" charset="0"/>
                <a:cs typeface="Arial" panose="020B0604020202020204" pitchFamily="34" charset="0"/>
              </a:rPr>
              <a:t>Cours de comptabilité </a:t>
            </a:r>
            <a:r>
              <a:rPr lang="fr-FR" sz="4000">
                <a:latin typeface="Arial" panose="020B0604020202020204" pitchFamily="34" charset="0"/>
                <a:cs typeface="Arial" panose="020B0604020202020204" pitchFamily="34" charset="0"/>
              </a:rPr>
              <a:t>N°5</a:t>
            </a:r>
            <a:endParaRPr lang="fr-FR" sz="4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l"/>
            <a:r>
              <a:rPr lang="fr-FR" sz="4000" dirty="0">
                <a:latin typeface="Arial" panose="020B0604020202020204" pitchFamily="34" charset="0"/>
                <a:cs typeface="Arial" panose="020B0604020202020204" pitchFamily="34" charset="0"/>
              </a:rPr>
              <a:t>19 mars 2021</a:t>
            </a:r>
          </a:p>
        </p:txBody>
      </p:sp>
      <p:sp>
        <p:nvSpPr>
          <p:cNvPr id="9" name="Freeform: Shape 8">
            <a:extLst>
              <a:ext uri="{FF2B5EF4-FFF2-40B4-BE49-F238E27FC236}">
                <a16:creationId xmlns:a16="http://schemas.microsoft.com/office/drawing/2014/main" id="{E49CC64F-7275-4E33-961B-0C5CDC43987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 flipV="1">
            <a:off x="1" y="0"/>
            <a:ext cx="7188051" cy="6858000"/>
          </a:xfrm>
          <a:custGeom>
            <a:avLst/>
            <a:gdLst>
              <a:gd name="connsiteX0" fmla="*/ 7188051 w 7188051"/>
              <a:gd name="connsiteY0" fmla="*/ 6858000 h 6858000"/>
              <a:gd name="connsiteX1" fmla="*/ 108694 w 7188051"/>
              <a:gd name="connsiteY1" fmla="*/ 6858000 h 6858000"/>
              <a:gd name="connsiteX2" fmla="*/ 79127 w 7188051"/>
              <a:gd name="connsiteY2" fmla="*/ 6681235 h 6858000"/>
              <a:gd name="connsiteX3" fmla="*/ 0 w 7188051"/>
              <a:gd name="connsiteY3" fmla="*/ 5565888 h 6858000"/>
              <a:gd name="connsiteX4" fmla="*/ 2190696 w 7188051"/>
              <a:gd name="connsiteY4" fmla="*/ 145339 h 6858000"/>
              <a:gd name="connsiteX5" fmla="*/ 2339431 w 7188051"/>
              <a:gd name="connsiteY5" fmla="*/ 0 h 6858000"/>
              <a:gd name="connsiteX6" fmla="*/ 7188051 w 7188051"/>
              <a:gd name="connsiteY6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188051" h="6858000">
                <a:moveTo>
                  <a:pt x="7188051" y="6858000"/>
                </a:moveTo>
                <a:lnTo>
                  <a:pt x="108694" y="6858000"/>
                </a:lnTo>
                <a:lnTo>
                  <a:pt x="79127" y="6681235"/>
                </a:lnTo>
                <a:cubicBezTo>
                  <a:pt x="26981" y="6316967"/>
                  <a:pt x="0" y="5944579"/>
                  <a:pt x="0" y="5565888"/>
                </a:cubicBezTo>
                <a:cubicBezTo>
                  <a:pt x="0" y="3459953"/>
                  <a:pt x="834428" y="1548908"/>
                  <a:pt x="2190696" y="145339"/>
                </a:cubicBezTo>
                <a:lnTo>
                  <a:pt x="2339431" y="0"/>
                </a:lnTo>
                <a:lnTo>
                  <a:pt x="7188051" y="0"/>
                </a:lnTo>
                <a:close/>
              </a:path>
            </a:pathLst>
          </a:custGeom>
          <a:solidFill>
            <a:schemeClr val="tx1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pic>
        <p:nvPicPr>
          <p:cNvPr id="5" name="Picture 4" descr="Bibliothèque publique floue abstraite avec des étagères à livres">
            <a:extLst>
              <a:ext uri="{FF2B5EF4-FFF2-40B4-BE49-F238E27FC236}">
                <a16:creationId xmlns:a16="http://schemas.microsoft.com/office/drawing/2014/main" id="{7BB6D41E-7376-4805-B0B6-C72AFA381B66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4625" r="26964" b="-1"/>
          <a:stretch/>
        </p:blipFill>
        <p:spPr>
          <a:xfrm>
            <a:off x="1" y="10"/>
            <a:ext cx="7028495" cy="6857990"/>
          </a:xfrm>
          <a:custGeom>
            <a:avLst/>
            <a:gdLst/>
            <a:ahLst/>
            <a:cxnLst/>
            <a:rect l="l" t="t" r="r" b="b"/>
            <a:pathLst>
              <a:path w="7028495" h="6858000">
                <a:moveTo>
                  <a:pt x="0" y="0"/>
                </a:moveTo>
                <a:lnTo>
                  <a:pt x="6915668" y="0"/>
                </a:lnTo>
                <a:lnTo>
                  <a:pt x="6952411" y="219663"/>
                </a:lnTo>
                <a:cubicBezTo>
                  <a:pt x="7002551" y="569921"/>
                  <a:pt x="7028495" y="927986"/>
                  <a:pt x="7028495" y="1292112"/>
                </a:cubicBezTo>
                <a:cubicBezTo>
                  <a:pt x="7028495" y="3343346"/>
                  <a:pt x="6205186" y="5202289"/>
                  <a:pt x="4870994" y="6556512"/>
                </a:cubicBezTo>
                <a:lnTo>
                  <a:pt x="4556185" y="6858000"/>
                </a:lnTo>
                <a:lnTo>
                  <a:pt x="0" y="6858000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384863915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7" name="Rectangle 16">
            <a:extLst>
              <a:ext uri="{FF2B5EF4-FFF2-40B4-BE49-F238E27FC236}">
                <a16:creationId xmlns:a16="http://schemas.microsoft.com/office/drawing/2014/main" id="{100EDD19-6802-4EC3-95CE-CFFAB042CFD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AEFCB68E-E041-4E46-A233-3C2208DA32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</p:spPr>
        <p:txBody>
          <a:bodyPr>
            <a:normAutofit/>
          </a:bodyPr>
          <a:lstStyle/>
          <a:p>
            <a:r>
              <a:rPr lang="fr-FR" sz="5400" dirty="0"/>
              <a:t>Comptabilisation – cas UP1 (suite) </a:t>
            </a:r>
          </a:p>
        </p:txBody>
      </p:sp>
      <p:sp>
        <p:nvSpPr>
          <p:cNvPr id="19" name="sketch line">
            <a:extLst>
              <a:ext uri="{FF2B5EF4-FFF2-40B4-BE49-F238E27FC236}">
                <a16:creationId xmlns:a16="http://schemas.microsoft.com/office/drawing/2014/main" id="{DB17E863-922E-4C26-BD64-E8FD41D2866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669036" y="1677373"/>
            <a:ext cx="10853928" cy="18288"/>
          </a:xfrm>
          <a:custGeom>
            <a:avLst/>
            <a:gdLst>
              <a:gd name="connsiteX0" fmla="*/ 0 w 10853928"/>
              <a:gd name="connsiteY0" fmla="*/ 0 h 18288"/>
              <a:gd name="connsiteX1" fmla="*/ 461292 w 10853928"/>
              <a:gd name="connsiteY1" fmla="*/ 0 h 18288"/>
              <a:gd name="connsiteX2" fmla="*/ 1139662 w 10853928"/>
              <a:gd name="connsiteY2" fmla="*/ 0 h 18288"/>
              <a:gd name="connsiteX3" fmla="*/ 1926572 w 10853928"/>
              <a:gd name="connsiteY3" fmla="*/ 0 h 18288"/>
              <a:gd name="connsiteX4" fmla="*/ 2279325 w 10853928"/>
              <a:gd name="connsiteY4" fmla="*/ 0 h 18288"/>
              <a:gd name="connsiteX5" fmla="*/ 2632078 w 10853928"/>
              <a:gd name="connsiteY5" fmla="*/ 0 h 18288"/>
              <a:gd name="connsiteX6" fmla="*/ 3527527 w 10853928"/>
              <a:gd name="connsiteY6" fmla="*/ 0 h 18288"/>
              <a:gd name="connsiteX7" fmla="*/ 4205897 w 10853928"/>
              <a:gd name="connsiteY7" fmla="*/ 0 h 18288"/>
              <a:gd name="connsiteX8" fmla="*/ 4558650 w 10853928"/>
              <a:gd name="connsiteY8" fmla="*/ 0 h 18288"/>
              <a:gd name="connsiteX9" fmla="*/ 5237020 w 10853928"/>
              <a:gd name="connsiteY9" fmla="*/ 0 h 18288"/>
              <a:gd name="connsiteX10" fmla="*/ 6132469 w 10853928"/>
              <a:gd name="connsiteY10" fmla="*/ 0 h 18288"/>
              <a:gd name="connsiteX11" fmla="*/ 6702301 w 10853928"/>
              <a:gd name="connsiteY11" fmla="*/ 0 h 18288"/>
              <a:gd name="connsiteX12" fmla="*/ 7272132 w 10853928"/>
              <a:gd name="connsiteY12" fmla="*/ 0 h 18288"/>
              <a:gd name="connsiteX13" fmla="*/ 7950502 w 10853928"/>
              <a:gd name="connsiteY13" fmla="*/ 0 h 18288"/>
              <a:gd name="connsiteX14" fmla="*/ 8737412 w 10853928"/>
              <a:gd name="connsiteY14" fmla="*/ 0 h 18288"/>
              <a:gd name="connsiteX15" fmla="*/ 9524322 w 10853928"/>
              <a:gd name="connsiteY15" fmla="*/ 0 h 18288"/>
              <a:gd name="connsiteX16" fmla="*/ 10853928 w 10853928"/>
              <a:gd name="connsiteY16" fmla="*/ 0 h 18288"/>
              <a:gd name="connsiteX17" fmla="*/ 10853928 w 10853928"/>
              <a:gd name="connsiteY17" fmla="*/ 18288 h 18288"/>
              <a:gd name="connsiteX18" fmla="*/ 10392636 w 10853928"/>
              <a:gd name="connsiteY18" fmla="*/ 18288 h 18288"/>
              <a:gd name="connsiteX19" fmla="*/ 9497187 w 10853928"/>
              <a:gd name="connsiteY19" fmla="*/ 18288 h 18288"/>
              <a:gd name="connsiteX20" fmla="*/ 8818817 w 10853928"/>
              <a:gd name="connsiteY20" fmla="*/ 18288 h 18288"/>
              <a:gd name="connsiteX21" fmla="*/ 8466064 w 10853928"/>
              <a:gd name="connsiteY21" fmla="*/ 18288 h 18288"/>
              <a:gd name="connsiteX22" fmla="*/ 7787693 w 10853928"/>
              <a:gd name="connsiteY22" fmla="*/ 18288 h 18288"/>
              <a:gd name="connsiteX23" fmla="*/ 7217862 w 10853928"/>
              <a:gd name="connsiteY23" fmla="*/ 18288 h 18288"/>
              <a:gd name="connsiteX24" fmla="*/ 6648031 w 10853928"/>
              <a:gd name="connsiteY24" fmla="*/ 18288 h 18288"/>
              <a:gd name="connsiteX25" fmla="*/ 6078200 w 10853928"/>
              <a:gd name="connsiteY25" fmla="*/ 18288 h 18288"/>
              <a:gd name="connsiteX26" fmla="*/ 5508368 w 10853928"/>
              <a:gd name="connsiteY26" fmla="*/ 18288 h 18288"/>
              <a:gd name="connsiteX27" fmla="*/ 4721459 w 10853928"/>
              <a:gd name="connsiteY27" fmla="*/ 18288 h 18288"/>
              <a:gd name="connsiteX28" fmla="*/ 4043088 w 10853928"/>
              <a:gd name="connsiteY28" fmla="*/ 18288 h 18288"/>
              <a:gd name="connsiteX29" fmla="*/ 3690336 w 10853928"/>
              <a:gd name="connsiteY29" fmla="*/ 18288 h 18288"/>
              <a:gd name="connsiteX30" fmla="*/ 3120504 w 10853928"/>
              <a:gd name="connsiteY30" fmla="*/ 18288 h 18288"/>
              <a:gd name="connsiteX31" fmla="*/ 2333595 w 10853928"/>
              <a:gd name="connsiteY31" fmla="*/ 18288 h 18288"/>
              <a:gd name="connsiteX32" fmla="*/ 1872303 w 10853928"/>
              <a:gd name="connsiteY32" fmla="*/ 18288 h 18288"/>
              <a:gd name="connsiteX33" fmla="*/ 976854 w 10853928"/>
              <a:gd name="connsiteY33" fmla="*/ 18288 h 18288"/>
              <a:gd name="connsiteX34" fmla="*/ 0 w 10853928"/>
              <a:gd name="connsiteY34" fmla="*/ 18288 h 18288"/>
              <a:gd name="connsiteX35" fmla="*/ 0 w 10853928"/>
              <a:gd name="connsiteY35" fmla="*/ 0 h 182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</a:cxnLst>
            <a:rect l="l" t="t" r="r" b="b"/>
            <a:pathLst>
              <a:path w="10853928" h="18288" fill="none" extrusionOk="0">
                <a:moveTo>
                  <a:pt x="0" y="0"/>
                </a:moveTo>
                <a:cubicBezTo>
                  <a:pt x="146993" y="-19076"/>
                  <a:pt x="347684" y="-4790"/>
                  <a:pt x="461292" y="0"/>
                </a:cubicBezTo>
                <a:cubicBezTo>
                  <a:pt x="574900" y="4790"/>
                  <a:pt x="808367" y="19821"/>
                  <a:pt x="1139662" y="0"/>
                </a:cubicBezTo>
                <a:cubicBezTo>
                  <a:pt x="1470957" y="-19821"/>
                  <a:pt x="1627405" y="5721"/>
                  <a:pt x="1926572" y="0"/>
                </a:cubicBezTo>
                <a:cubicBezTo>
                  <a:pt x="2225739" y="-5721"/>
                  <a:pt x="2137730" y="-3235"/>
                  <a:pt x="2279325" y="0"/>
                </a:cubicBezTo>
                <a:cubicBezTo>
                  <a:pt x="2420920" y="3235"/>
                  <a:pt x="2456518" y="9685"/>
                  <a:pt x="2632078" y="0"/>
                </a:cubicBezTo>
                <a:cubicBezTo>
                  <a:pt x="2807638" y="-9685"/>
                  <a:pt x="3211516" y="-43007"/>
                  <a:pt x="3527527" y="0"/>
                </a:cubicBezTo>
                <a:cubicBezTo>
                  <a:pt x="3843538" y="43007"/>
                  <a:pt x="4058833" y="22042"/>
                  <a:pt x="4205897" y="0"/>
                </a:cubicBezTo>
                <a:cubicBezTo>
                  <a:pt x="4352961" y="-22042"/>
                  <a:pt x="4474805" y="-11846"/>
                  <a:pt x="4558650" y="0"/>
                </a:cubicBezTo>
                <a:cubicBezTo>
                  <a:pt x="4642495" y="11846"/>
                  <a:pt x="5041928" y="-6069"/>
                  <a:pt x="5237020" y="0"/>
                </a:cubicBezTo>
                <a:cubicBezTo>
                  <a:pt x="5432112" y="6069"/>
                  <a:pt x="5943266" y="-17479"/>
                  <a:pt x="6132469" y="0"/>
                </a:cubicBezTo>
                <a:cubicBezTo>
                  <a:pt x="6321672" y="17479"/>
                  <a:pt x="6483872" y="26234"/>
                  <a:pt x="6702301" y="0"/>
                </a:cubicBezTo>
                <a:cubicBezTo>
                  <a:pt x="6920730" y="-26234"/>
                  <a:pt x="6991194" y="-15156"/>
                  <a:pt x="7272132" y="0"/>
                </a:cubicBezTo>
                <a:cubicBezTo>
                  <a:pt x="7553070" y="15156"/>
                  <a:pt x="7684444" y="-32961"/>
                  <a:pt x="7950502" y="0"/>
                </a:cubicBezTo>
                <a:cubicBezTo>
                  <a:pt x="8216560" y="32961"/>
                  <a:pt x="8493290" y="-10491"/>
                  <a:pt x="8737412" y="0"/>
                </a:cubicBezTo>
                <a:cubicBezTo>
                  <a:pt x="8981534" y="10491"/>
                  <a:pt x="9191586" y="-13899"/>
                  <a:pt x="9524322" y="0"/>
                </a:cubicBezTo>
                <a:cubicBezTo>
                  <a:pt x="9857058" y="13899"/>
                  <a:pt x="10297509" y="7485"/>
                  <a:pt x="10853928" y="0"/>
                </a:cubicBezTo>
                <a:cubicBezTo>
                  <a:pt x="10854574" y="4451"/>
                  <a:pt x="10854418" y="9226"/>
                  <a:pt x="10853928" y="18288"/>
                </a:cubicBezTo>
                <a:cubicBezTo>
                  <a:pt x="10691638" y="28522"/>
                  <a:pt x="10574319" y="29578"/>
                  <a:pt x="10392636" y="18288"/>
                </a:cubicBezTo>
                <a:cubicBezTo>
                  <a:pt x="10210953" y="6998"/>
                  <a:pt x="9836277" y="-16742"/>
                  <a:pt x="9497187" y="18288"/>
                </a:cubicBezTo>
                <a:cubicBezTo>
                  <a:pt x="9158097" y="53318"/>
                  <a:pt x="9119479" y="30714"/>
                  <a:pt x="8818817" y="18288"/>
                </a:cubicBezTo>
                <a:cubicBezTo>
                  <a:pt x="8518155" y="5863"/>
                  <a:pt x="8640037" y="6483"/>
                  <a:pt x="8466064" y="18288"/>
                </a:cubicBezTo>
                <a:cubicBezTo>
                  <a:pt x="8292091" y="30093"/>
                  <a:pt x="7997656" y="18914"/>
                  <a:pt x="7787693" y="18288"/>
                </a:cubicBezTo>
                <a:cubicBezTo>
                  <a:pt x="7577730" y="17662"/>
                  <a:pt x="7412468" y="21416"/>
                  <a:pt x="7217862" y="18288"/>
                </a:cubicBezTo>
                <a:cubicBezTo>
                  <a:pt x="7023256" y="15160"/>
                  <a:pt x="6898018" y="14824"/>
                  <a:pt x="6648031" y="18288"/>
                </a:cubicBezTo>
                <a:cubicBezTo>
                  <a:pt x="6398044" y="21752"/>
                  <a:pt x="6254402" y="38625"/>
                  <a:pt x="6078200" y="18288"/>
                </a:cubicBezTo>
                <a:cubicBezTo>
                  <a:pt x="5901998" y="-2049"/>
                  <a:pt x="5622886" y="3213"/>
                  <a:pt x="5508368" y="18288"/>
                </a:cubicBezTo>
                <a:cubicBezTo>
                  <a:pt x="5393850" y="33363"/>
                  <a:pt x="5036260" y="26830"/>
                  <a:pt x="4721459" y="18288"/>
                </a:cubicBezTo>
                <a:cubicBezTo>
                  <a:pt x="4406658" y="9746"/>
                  <a:pt x="4239221" y="41551"/>
                  <a:pt x="4043088" y="18288"/>
                </a:cubicBezTo>
                <a:cubicBezTo>
                  <a:pt x="3846955" y="-4975"/>
                  <a:pt x="3818802" y="34658"/>
                  <a:pt x="3690336" y="18288"/>
                </a:cubicBezTo>
                <a:cubicBezTo>
                  <a:pt x="3561870" y="1918"/>
                  <a:pt x="3265491" y="42194"/>
                  <a:pt x="3120504" y="18288"/>
                </a:cubicBezTo>
                <a:cubicBezTo>
                  <a:pt x="2975517" y="-5618"/>
                  <a:pt x="2720254" y="36673"/>
                  <a:pt x="2333595" y="18288"/>
                </a:cubicBezTo>
                <a:cubicBezTo>
                  <a:pt x="1946936" y="-97"/>
                  <a:pt x="2097241" y="5776"/>
                  <a:pt x="1872303" y="18288"/>
                </a:cubicBezTo>
                <a:cubicBezTo>
                  <a:pt x="1647365" y="30800"/>
                  <a:pt x="1282708" y="45380"/>
                  <a:pt x="976854" y="18288"/>
                </a:cubicBezTo>
                <a:cubicBezTo>
                  <a:pt x="671000" y="-8804"/>
                  <a:pt x="408401" y="-12775"/>
                  <a:pt x="0" y="18288"/>
                </a:cubicBezTo>
                <a:cubicBezTo>
                  <a:pt x="-213" y="9468"/>
                  <a:pt x="187" y="4459"/>
                  <a:pt x="0" y="0"/>
                </a:cubicBezTo>
                <a:close/>
              </a:path>
              <a:path w="10853928" h="18288" stroke="0" extrusionOk="0">
                <a:moveTo>
                  <a:pt x="0" y="0"/>
                </a:moveTo>
                <a:cubicBezTo>
                  <a:pt x="267322" y="15284"/>
                  <a:pt x="415388" y="-21048"/>
                  <a:pt x="569831" y="0"/>
                </a:cubicBezTo>
                <a:cubicBezTo>
                  <a:pt x="724274" y="21048"/>
                  <a:pt x="769333" y="-2353"/>
                  <a:pt x="922584" y="0"/>
                </a:cubicBezTo>
                <a:cubicBezTo>
                  <a:pt x="1075835" y="2353"/>
                  <a:pt x="1399490" y="-145"/>
                  <a:pt x="1818033" y="0"/>
                </a:cubicBezTo>
                <a:cubicBezTo>
                  <a:pt x="2236576" y="145"/>
                  <a:pt x="2145330" y="5482"/>
                  <a:pt x="2387864" y="0"/>
                </a:cubicBezTo>
                <a:cubicBezTo>
                  <a:pt x="2630398" y="-5482"/>
                  <a:pt x="2793207" y="18487"/>
                  <a:pt x="2957695" y="0"/>
                </a:cubicBezTo>
                <a:cubicBezTo>
                  <a:pt x="3122183" y="-18487"/>
                  <a:pt x="3579141" y="19003"/>
                  <a:pt x="3853144" y="0"/>
                </a:cubicBezTo>
                <a:cubicBezTo>
                  <a:pt x="4127147" y="-19003"/>
                  <a:pt x="4209857" y="12211"/>
                  <a:pt x="4314436" y="0"/>
                </a:cubicBezTo>
                <a:cubicBezTo>
                  <a:pt x="4419015" y="-12211"/>
                  <a:pt x="4762459" y="-17220"/>
                  <a:pt x="5209885" y="0"/>
                </a:cubicBezTo>
                <a:cubicBezTo>
                  <a:pt x="5657311" y="17220"/>
                  <a:pt x="5692663" y="-3290"/>
                  <a:pt x="6105335" y="0"/>
                </a:cubicBezTo>
                <a:cubicBezTo>
                  <a:pt x="6518007" y="3290"/>
                  <a:pt x="6455516" y="-5124"/>
                  <a:pt x="6783705" y="0"/>
                </a:cubicBezTo>
                <a:cubicBezTo>
                  <a:pt x="7111894" y="5124"/>
                  <a:pt x="7441941" y="-17829"/>
                  <a:pt x="7679154" y="0"/>
                </a:cubicBezTo>
                <a:cubicBezTo>
                  <a:pt x="7916367" y="17829"/>
                  <a:pt x="8102967" y="-24363"/>
                  <a:pt x="8248985" y="0"/>
                </a:cubicBezTo>
                <a:cubicBezTo>
                  <a:pt x="8395003" y="24363"/>
                  <a:pt x="8552393" y="25505"/>
                  <a:pt x="8818817" y="0"/>
                </a:cubicBezTo>
                <a:cubicBezTo>
                  <a:pt x="9085241" y="-25505"/>
                  <a:pt x="9411308" y="38000"/>
                  <a:pt x="9605726" y="0"/>
                </a:cubicBezTo>
                <a:cubicBezTo>
                  <a:pt x="9800144" y="-38000"/>
                  <a:pt x="10006468" y="-25741"/>
                  <a:pt x="10175558" y="0"/>
                </a:cubicBezTo>
                <a:cubicBezTo>
                  <a:pt x="10344648" y="25741"/>
                  <a:pt x="10696282" y="695"/>
                  <a:pt x="10853928" y="0"/>
                </a:cubicBezTo>
                <a:cubicBezTo>
                  <a:pt x="10853521" y="8690"/>
                  <a:pt x="10853774" y="14141"/>
                  <a:pt x="10853928" y="18288"/>
                </a:cubicBezTo>
                <a:cubicBezTo>
                  <a:pt x="10608124" y="24255"/>
                  <a:pt x="10343415" y="22307"/>
                  <a:pt x="10067018" y="18288"/>
                </a:cubicBezTo>
                <a:cubicBezTo>
                  <a:pt x="9790621" y="14270"/>
                  <a:pt x="9843266" y="3564"/>
                  <a:pt x="9714266" y="18288"/>
                </a:cubicBezTo>
                <a:cubicBezTo>
                  <a:pt x="9585266" y="33012"/>
                  <a:pt x="9379484" y="1875"/>
                  <a:pt x="9252974" y="18288"/>
                </a:cubicBezTo>
                <a:cubicBezTo>
                  <a:pt x="9126464" y="34701"/>
                  <a:pt x="8580678" y="-4904"/>
                  <a:pt x="8357525" y="18288"/>
                </a:cubicBezTo>
                <a:cubicBezTo>
                  <a:pt x="8134372" y="41480"/>
                  <a:pt x="7903199" y="26458"/>
                  <a:pt x="7679154" y="18288"/>
                </a:cubicBezTo>
                <a:cubicBezTo>
                  <a:pt x="7455109" y="10118"/>
                  <a:pt x="7435944" y="27109"/>
                  <a:pt x="7217862" y="18288"/>
                </a:cubicBezTo>
                <a:cubicBezTo>
                  <a:pt x="6999780" y="9467"/>
                  <a:pt x="6680409" y="18985"/>
                  <a:pt x="6539492" y="18288"/>
                </a:cubicBezTo>
                <a:cubicBezTo>
                  <a:pt x="6398575" y="17592"/>
                  <a:pt x="6312077" y="33018"/>
                  <a:pt x="6186739" y="18288"/>
                </a:cubicBezTo>
                <a:cubicBezTo>
                  <a:pt x="6061401" y="3558"/>
                  <a:pt x="5947033" y="12075"/>
                  <a:pt x="5833986" y="18288"/>
                </a:cubicBezTo>
                <a:cubicBezTo>
                  <a:pt x="5720939" y="24501"/>
                  <a:pt x="5482226" y="8586"/>
                  <a:pt x="5155616" y="18288"/>
                </a:cubicBezTo>
                <a:cubicBezTo>
                  <a:pt x="4829006" y="27991"/>
                  <a:pt x="4841274" y="29316"/>
                  <a:pt x="4694324" y="18288"/>
                </a:cubicBezTo>
                <a:cubicBezTo>
                  <a:pt x="4547374" y="7260"/>
                  <a:pt x="4077675" y="7013"/>
                  <a:pt x="3907414" y="18288"/>
                </a:cubicBezTo>
                <a:cubicBezTo>
                  <a:pt x="3737153" y="29564"/>
                  <a:pt x="3538393" y="21630"/>
                  <a:pt x="3446122" y="18288"/>
                </a:cubicBezTo>
                <a:cubicBezTo>
                  <a:pt x="3353851" y="14946"/>
                  <a:pt x="2990320" y="-8091"/>
                  <a:pt x="2659212" y="18288"/>
                </a:cubicBezTo>
                <a:cubicBezTo>
                  <a:pt x="2328104" y="44667"/>
                  <a:pt x="2427653" y="9607"/>
                  <a:pt x="2306460" y="18288"/>
                </a:cubicBezTo>
                <a:cubicBezTo>
                  <a:pt x="2185267" y="26969"/>
                  <a:pt x="1719763" y="3717"/>
                  <a:pt x="1519550" y="18288"/>
                </a:cubicBezTo>
                <a:cubicBezTo>
                  <a:pt x="1319337" y="32860"/>
                  <a:pt x="1167371" y="17040"/>
                  <a:pt x="1058258" y="18288"/>
                </a:cubicBezTo>
                <a:cubicBezTo>
                  <a:pt x="949145" y="19536"/>
                  <a:pt x="780234" y="31447"/>
                  <a:pt x="705505" y="18288"/>
                </a:cubicBezTo>
                <a:cubicBezTo>
                  <a:pt x="630776" y="5129"/>
                  <a:pt x="215796" y="30056"/>
                  <a:pt x="0" y="18288"/>
                </a:cubicBezTo>
                <a:cubicBezTo>
                  <a:pt x="-53" y="11301"/>
                  <a:pt x="-649" y="7756"/>
                  <a:pt x="0" y="0"/>
                </a:cubicBezTo>
                <a:close/>
              </a:path>
            </a:pathLst>
          </a:custGeom>
          <a:solidFill>
            <a:schemeClr val="accent2"/>
          </a:solidFill>
          <a:ln w="41275" cap="rnd">
            <a:solidFill>
              <a:schemeClr val="accent2"/>
            </a:solidFill>
            <a:round/>
            <a:extLst>
              <a:ext uri="{C807C97D-BFC1-408E-A445-0C87EB9F89A2}">
                <ask:lineSketchStyleProps xmlns:ask="http://schemas.microsoft.com/office/drawing/2018/sketchyshapes" sd="1219033472">
                  <a:prstGeom prst="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9FA71A85-160A-4CFF-9241-BA71D421B86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01841" y="1874786"/>
            <a:ext cx="11051959" cy="4688220"/>
          </a:xfrm>
        </p:spPr>
        <p:txBody>
          <a:bodyPr>
            <a:normAutofit fontScale="92500" lnSpcReduction="20000"/>
          </a:bodyPr>
          <a:lstStyle/>
          <a:p>
            <a:pPr marL="0" indent="0">
              <a:buNone/>
            </a:pPr>
            <a:r>
              <a:rPr lang="fr-FR" sz="15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 </a:t>
            </a:r>
          </a:p>
          <a:p>
            <a:pPr algn="just"/>
            <a:r>
              <a:rPr lang="fr-FR" sz="1800" b="1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Ex 5) </a:t>
            </a:r>
            <a:r>
              <a:rPr lang="fr-FR" sz="18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L’entreprise achète un véhicule de transport, au comptant par chèque : 125 000 €.</a:t>
            </a:r>
          </a:p>
          <a:p>
            <a:pPr marL="361950" algn="just"/>
            <a:r>
              <a:rPr lang="fr-FR" sz="18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=&gt; Les comptes en jeu.</a:t>
            </a:r>
          </a:p>
          <a:p>
            <a:pPr algn="just"/>
            <a:r>
              <a:rPr lang="fr-FR" sz="18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 </a:t>
            </a:r>
          </a:p>
          <a:p>
            <a:pPr algn="just"/>
            <a:r>
              <a:rPr lang="fr-FR" sz="1800" b="1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Ex 6) </a:t>
            </a:r>
            <a:r>
              <a:rPr lang="fr-FR" sz="18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L’entreprise verse le montant de la caisse sur son compte en banque : 5 000 €</a:t>
            </a:r>
          </a:p>
          <a:p>
            <a:pPr marL="361950" algn="just"/>
            <a:r>
              <a:rPr lang="fr-FR" sz="18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=&gt; Les comptes en jeu.</a:t>
            </a:r>
          </a:p>
          <a:p>
            <a:pPr algn="just"/>
            <a:r>
              <a:rPr lang="fr-FR" sz="18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 </a:t>
            </a:r>
          </a:p>
          <a:p>
            <a:pPr algn="just"/>
            <a:r>
              <a:rPr lang="fr-FR" sz="1800" b="1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Ex 7) </a:t>
            </a:r>
            <a:r>
              <a:rPr lang="fr-FR" sz="18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L’entreprise sort du liquide, de son compte en banque, et le met en caisse : 25 000 €</a:t>
            </a:r>
          </a:p>
          <a:p>
            <a:pPr marL="361950" algn="just"/>
            <a:r>
              <a:rPr lang="fr-FR" sz="18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=&gt; Les comptes en jeu.</a:t>
            </a:r>
          </a:p>
          <a:p>
            <a:pPr algn="just"/>
            <a:r>
              <a:rPr lang="fr-FR" sz="1800" b="1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 </a:t>
            </a:r>
            <a:endParaRPr lang="fr-FR" sz="1800" dirty="0">
              <a:effectLst/>
              <a:latin typeface="Verdana" panose="020B060403050404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just"/>
            <a:r>
              <a:rPr lang="fr-FR" sz="1800" b="1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Ex 8) </a:t>
            </a:r>
            <a:r>
              <a:rPr lang="fr-FR" sz="18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L’entreprise règle par chèque une dette envers un fournisseur à qui elle devait 15 000 €</a:t>
            </a:r>
          </a:p>
          <a:p>
            <a:pPr marL="361950" algn="just"/>
            <a:r>
              <a:rPr lang="fr-FR" sz="18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=&gt; Les comptes en jeu.</a:t>
            </a:r>
          </a:p>
          <a:p>
            <a:pPr algn="just"/>
            <a:r>
              <a:rPr lang="fr-FR" sz="18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 </a:t>
            </a:r>
          </a:p>
          <a:p>
            <a:pPr algn="just"/>
            <a:r>
              <a:rPr lang="fr-FR" sz="1800" b="1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Ex 9)</a:t>
            </a:r>
            <a:r>
              <a:rPr lang="fr-FR" sz="18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Un client règle, en liquide, 3 500 € qu'il nous devait.</a:t>
            </a:r>
          </a:p>
          <a:p>
            <a:pPr marL="361950" algn="just"/>
            <a:r>
              <a:rPr lang="fr-FR" sz="18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=&gt; Les comptes en jeu.</a:t>
            </a:r>
          </a:p>
          <a:p>
            <a:pPr marL="0" indent="0" algn="just">
              <a:buNone/>
            </a:pPr>
            <a:endParaRPr lang="fr-FR" sz="1500" dirty="0"/>
          </a:p>
        </p:txBody>
      </p:sp>
    </p:spTree>
    <p:extLst>
      <p:ext uri="{BB962C8B-B14F-4D97-AF65-F5344CB8AC3E}">
        <p14:creationId xmlns:p14="http://schemas.microsoft.com/office/powerpoint/2010/main" val="142016361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7" name="Rectangle 16">
            <a:extLst>
              <a:ext uri="{FF2B5EF4-FFF2-40B4-BE49-F238E27FC236}">
                <a16:creationId xmlns:a16="http://schemas.microsoft.com/office/drawing/2014/main" id="{100EDD19-6802-4EC3-95CE-CFFAB042CFD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AEFCB68E-E041-4E46-A233-3C2208DA32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613" y="365125"/>
            <a:ext cx="11702642" cy="1325563"/>
          </a:xfrm>
        </p:spPr>
        <p:txBody>
          <a:bodyPr>
            <a:normAutofit/>
          </a:bodyPr>
          <a:lstStyle/>
          <a:p>
            <a:r>
              <a:rPr lang="fr-FR" sz="5400" dirty="0"/>
              <a:t>Comptabilisation – Correction UP1 (suite)</a:t>
            </a:r>
          </a:p>
        </p:txBody>
      </p:sp>
      <p:sp>
        <p:nvSpPr>
          <p:cNvPr id="19" name="sketch line">
            <a:extLst>
              <a:ext uri="{FF2B5EF4-FFF2-40B4-BE49-F238E27FC236}">
                <a16:creationId xmlns:a16="http://schemas.microsoft.com/office/drawing/2014/main" id="{DB17E863-922E-4C26-BD64-E8FD41D2866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669036" y="1677373"/>
            <a:ext cx="10853928" cy="18288"/>
          </a:xfrm>
          <a:custGeom>
            <a:avLst/>
            <a:gdLst>
              <a:gd name="connsiteX0" fmla="*/ 0 w 10853928"/>
              <a:gd name="connsiteY0" fmla="*/ 0 h 18288"/>
              <a:gd name="connsiteX1" fmla="*/ 461292 w 10853928"/>
              <a:gd name="connsiteY1" fmla="*/ 0 h 18288"/>
              <a:gd name="connsiteX2" fmla="*/ 1139662 w 10853928"/>
              <a:gd name="connsiteY2" fmla="*/ 0 h 18288"/>
              <a:gd name="connsiteX3" fmla="*/ 1926572 w 10853928"/>
              <a:gd name="connsiteY3" fmla="*/ 0 h 18288"/>
              <a:gd name="connsiteX4" fmla="*/ 2279325 w 10853928"/>
              <a:gd name="connsiteY4" fmla="*/ 0 h 18288"/>
              <a:gd name="connsiteX5" fmla="*/ 2632078 w 10853928"/>
              <a:gd name="connsiteY5" fmla="*/ 0 h 18288"/>
              <a:gd name="connsiteX6" fmla="*/ 3527527 w 10853928"/>
              <a:gd name="connsiteY6" fmla="*/ 0 h 18288"/>
              <a:gd name="connsiteX7" fmla="*/ 4205897 w 10853928"/>
              <a:gd name="connsiteY7" fmla="*/ 0 h 18288"/>
              <a:gd name="connsiteX8" fmla="*/ 4558650 w 10853928"/>
              <a:gd name="connsiteY8" fmla="*/ 0 h 18288"/>
              <a:gd name="connsiteX9" fmla="*/ 5237020 w 10853928"/>
              <a:gd name="connsiteY9" fmla="*/ 0 h 18288"/>
              <a:gd name="connsiteX10" fmla="*/ 6132469 w 10853928"/>
              <a:gd name="connsiteY10" fmla="*/ 0 h 18288"/>
              <a:gd name="connsiteX11" fmla="*/ 6702301 w 10853928"/>
              <a:gd name="connsiteY11" fmla="*/ 0 h 18288"/>
              <a:gd name="connsiteX12" fmla="*/ 7272132 w 10853928"/>
              <a:gd name="connsiteY12" fmla="*/ 0 h 18288"/>
              <a:gd name="connsiteX13" fmla="*/ 7950502 w 10853928"/>
              <a:gd name="connsiteY13" fmla="*/ 0 h 18288"/>
              <a:gd name="connsiteX14" fmla="*/ 8737412 w 10853928"/>
              <a:gd name="connsiteY14" fmla="*/ 0 h 18288"/>
              <a:gd name="connsiteX15" fmla="*/ 9524322 w 10853928"/>
              <a:gd name="connsiteY15" fmla="*/ 0 h 18288"/>
              <a:gd name="connsiteX16" fmla="*/ 10853928 w 10853928"/>
              <a:gd name="connsiteY16" fmla="*/ 0 h 18288"/>
              <a:gd name="connsiteX17" fmla="*/ 10853928 w 10853928"/>
              <a:gd name="connsiteY17" fmla="*/ 18288 h 18288"/>
              <a:gd name="connsiteX18" fmla="*/ 10392636 w 10853928"/>
              <a:gd name="connsiteY18" fmla="*/ 18288 h 18288"/>
              <a:gd name="connsiteX19" fmla="*/ 9497187 w 10853928"/>
              <a:gd name="connsiteY19" fmla="*/ 18288 h 18288"/>
              <a:gd name="connsiteX20" fmla="*/ 8818817 w 10853928"/>
              <a:gd name="connsiteY20" fmla="*/ 18288 h 18288"/>
              <a:gd name="connsiteX21" fmla="*/ 8466064 w 10853928"/>
              <a:gd name="connsiteY21" fmla="*/ 18288 h 18288"/>
              <a:gd name="connsiteX22" fmla="*/ 7787693 w 10853928"/>
              <a:gd name="connsiteY22" fmla="*/ 18288 h 18288"/>
              <a:gd name="connsiteX23" fmla="*/ 7217862 w 10853928"/>
              <a:gd name="connsiteY23" fmla="*/ 18288 h 18288"/>
              <a:gd name="connsiteX24" fmla="*/ 6648031 w 10853928"/>
              <a:gd name="connsiteY24" fmla="*/ 18288 h 18288"/>
              <a:gd name="connsiteX25" fmla="*/ 6078200 w 10853928"/>
              <a:gd name="connsiteY25" fmla="*/ 18288 h 18288"/>
              <a:gd name="connsiteX26" fmla="*/ 5508368 w 10853928"/>
              <a:gd name="connsiteY26" fmla="*/ 18288 h 18288"/>
              <a:gd name="connsiteX27" fmla="*/ 4721459 w 10853928"/>
              <a:gd name="connsiteY27" fmla="*/ 18288 h 18288"/>
              <a:gd name="connsiteX28" fmla="*/ 4043088 w 10853928"/>
              <a:gd name="connsiteY28" fmla="*/ 18288 h 18288"/>
              <a:gd name="connsiteX29" fmla="*/ 3690336 w 10853928"/>
              <a:gd name="connsiteY29" fmla="*/ 18288 h 18288"/>
              <a:gd name="connsiteX30" fmla="*/ 3120504 w 10853928"/>
              <a:gd name="connsiteY30" fmla="*/ 18288 h 18288"/>
              <a:gd name="connsiteX31" fmla="*/ 2333595 w 10853928"/>
              <a:gd name="connsiteY31" fmla="*/ 18288 h 18288"/>
              <a:gd name="connsiteX32" fmla="*/ 1872303 w 10853928"/>
              <a:gd name="connsiteY32" fmla="*/ 18288 h 18288"/>
              <a:gd name="connsiteX33" fmla="*/ 976854 w 10853928"/>
              <a:gd name="connsiteY33" fmla="*/ 18288 h 18288"/>
              <a:gd name="connsiteX34" fmla="*/ 0 w 10853928"/>
              <a:gd name="connsiteY34" fmla="*/ 18288 h 18288"/>
              <a:gd name="connsiteX35" fmla="*/ 0 w 10853928"/>
              <a:gd name="connsiteY35" fmla="*/ 0 h 182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</a:cxnLst>
            <a:rect l="l" t="t" r="r" b="b"/>
            <a:pathLst>
              <a:path w="10853928" h="18288" fill="none" extrusionOk="0">
                <a:moveTo>
                  <a:pt x="0" y="0"/>
                </a:moveTo>
                <a:cubicBezTo>
                  <a:pt x="146993" y="-19076"/>
                  <a:pt x="347684" y="-4790"/>
                  <a:pt x="461292" y="0"/>
                </a:cubicBezTo>
                <a:cubicBezTo>
                  <a:pt x="574900" y="4790"/>
                  <a:pt x="808367" y="19821"/>
                  <a:pt x="1139662" y="0"/>
                </a:cubicBezTo>
                <a:cubicBezTo>
                  <a:pt x="1470957" y="-19821"/>
                  <a:pt x="1627405" y="5721"/>
                  <a:pt x="1926572" y="0"/>
                </a:cubicBezTo>
                <a:cubicBezTo>
                  <a:pt x="2225739" y="-5721"/>
                  <a:pt x="2137730" y="-3235"/>
                  <a:pt x="2279325" y="0"/>
                </a:cubicBezTo>
                <a:cubicBezTo>
                  <a:pt x="2420920" y="3235"/>
                  <a:pt x="2456518" y="9685"/>
                  <a:pt x="2632078" y="0"/>
                </a:cubicBezTo>
                <a:cubicBezTo>
                  <a:pt x="2807638" y="-9685"/>
                  <a:pt x="3211516" y="-43007"/>
                  <a:pt x="3527527" y="0"/>
                </a:cubicBezTo>
                <a:cubicBezTo>
                  <a:pt x="3843538" y="43007"/>
                  <a:pt x="4058833" y="22042"/>
                  <a:pt x="4205897" y="0"/>
                </a:cubicBezTo>
                <a:cubicBezTo>
                  <a:pt x="4352961" y="-22042"/>
                  <a:pt x="4474805" y="-11846"/>
                  <a:pt x="4558650" y="0"/>
                </a:cubicBezTo>
                <a:cubicBezTo>
                  <a:pt x="4642495" y="11846"/>
                  <a:pt x="5041928" y="-6069"/>
                  <a:pt x="5237020" y="0"/>
                </a:cubicBezTo>
                <a:cubicBezTo>
                  <a:pt x="5432112" y="6069"/>
                  <a:pt x="5943266" y="-17479"/>
                  <a:pt x="6132469" y="0"/>
                </a:cubicBezTo>
                <a:cubicBezTo>
                  <a:pt x="6321672" y="17479"/>
                  <a:pt x="6483872" y="26234"/>
                  <a:pt x="6702301" y="0"/>
                </a:cubicBezTo>
                <a:cubicBezTo>
                  <a:pt x="6920730" y="-26234"/>
                  <a:pt x="6991194" y="-15156"/>
                  <a:pt x="7272132" y="0"/>
                </a:cubicBezTo>
                <a:cubicBezTo>
                  <a:pt x="7553070" y="15156"/>
                  <a:pt x="7684444" y="-32961"/>
                  <a:pt x="7950502" y="0"/>
                </a:cubicBezTo>
                <a:cubicBezTo>
                  <a:pt x="8216560" y="32961"/>
                  <a:pt x="8493290" y="-10491"/>
                  <a:pt x="8737412" y="0"/>
                </a:cubicBezTo>
                <a:cubicBezTo>
                  <a:pt x="8981534" y="10491"/>
                  <a:pt x="9191586" y="-13899"/>
                  <a:pt x="9524322" y="0"/>
                </a:cubicBezTo>
                <a:cubicBezTo>
                  <a:pt x="9857058" y="13899"/>
                  <a:pt x="10297509" y="7485"/>
                  <a:pt x="10853928" y="0"/>
                </a:cubicBezTo>
                <a:cubicBezTo>
                  <a:pt x="10854574" y="4451"/>
                  <a:pt x="10854418" y="9226"/>
                  <a:pt x="10853928" y="18288"/>
                </a:cubicBezTo>
                <a:cubicBezTo>
                  <a:pt x="10691638" y="28522"/>
                  <a:pt x="10574319" y="29578"/>
                  <a:pt x="10392636" y="18288"/>
                </a:cubicBezTo>
                <a:cubicBezTo>
                  <a:pt x="10210953" y="6998"/>
                  <a:pt x="9836277" y="-16742"/>
                  <a:pt x="9497187" y="18288"/>
                </a:cubicBezTo>
                <a:cubicBezTo>
                  <a:pt x="9158097" y="53318"/>
                  <a:pt x="9119479" y="30714"/>
                  <a:pt x="8818817" y="18288"/>
                </a:cubicBezTo>
                <a:cubicBezTo>
                  <a:pt x="8518155" y="5863"/>
                  <a:pt x="8640037" y="6483"/>
                  <a:pt x="8466064" y="18288"/>
                </a:cubicBezTo>
                <a:cubicBezTo>
                  <a:pt x="8292091" y="30093"/>
                  <a:pt x="7997656" y="18914"/>
                  <a:pt x="7787693" y="18288"/>
                </a:cubicBezTo>
                <a:cubicBezTo>
                  <a:pt x="7577730" y="17662"/>
                  <a:pt x="7412468" y="21416"/>
                  <a:pt x="7217862" y="18288"/>
                </a:cubicBezTo>
                <a:cubicBezTo>
                  <a:pt x="7023256" y="15160"/>
                  <a:pt x="6898018" y="14824"/>
                  <a:pt x="6648031" y="18288"/>
                </a:cubicBezTo>
                <a:cubicBezTo>
                  <a:pt x="6398044" y="21752"/>
                  <a:pt x="6254402" y="38625"/>
                  <a:pt x="6078200" y="18288"/>
                </a:cubicBezTo>
                <a:cubicBezTo>
                  <a:pt x="5901998" y="-2049"/>
                  <a:pt x="5622886" y="3213"/>
                  <a:pt x="5508368" y="18288"/>
                </a:cubicBezTo>
                <a:cubicBezTo>
                  <a:pt x="5393850" y="33363"/>
                  <a:pt x="5036260" y="26830"/>
                  <a:pt x="4721459" y="18288"/>
                </a:cubicBezTo>
                <a:cubicBezTo>
                  <a:pt x="4406658" y="9746"/>
                  <a:pt x="4239221" y="41551"/>
                  <a:pt x="4043088" y="18288"/>
                </a:cubicBezTo>
                <a:cubicBezTo>
                  <a:pt x="3846955" y="-4975"/>
                  <a:pt x="3818802" y="34658"/>
                  <a:pt x="3690336" y="18288"/>
                </a:cubicBezTo>
                <a:cubicBezTo>
                  <a:pt x="3561870" y="1918"/>
                  <a:pt x="3265491" y="42194"/>
                  <a:pt x="3120504" y="18288"/>
                </a:cubicBezTo>
                <a:cubicBezTo>
                  <a:pt x="2975517" y="-5618"/>
                  <a:pt x="2720254" y="36673"/>
                  <a:pt x="2333595" y="18288"/>
                </a:cubicBezTo>
                <a:cubicBezTo>
                  <a:pt x="1946936" y="-97"/>
                  <a:pt x="2097241" y="5776"/>
                  <a:pt x="1872303" y="18288"/>
                </a:cubicBezTo>
                <a:cubicBezTo>
                  <a:pt x="1647365" y="30800"/>
                  <a:pt x="1282708" y="45380"/>
                  <a:pt x="976854" y="18288"/>
                </a:cubicBezTo>
                <a:cubicBezTo>
                  <a:pt x="671000" y="-8804"/>
                  <a:pt x="408401" y="-12775"/>
                  <a:pt x="0" y="18288"/>
                </a:cubicBezTo>
                <a:cubicBezTo>
                  <a:pt x="-213" y="9468"/>
                  <a:pt x="187" y="4459"/>
                  <a:pt x="0" y="0"/>
                </a:cubicBezTo>
                <a:close/>
              </a:path>
              <a:path w="10853928" h="18288" stroke="0" extrusionOk="0">
                <a:moveTo>
                  <a:pt x="0" y="0"/>
                </a:moveTo>
                <a:cubicBezTo>
                  <a:pt x="267322" y="15284"/>
                  <a:pt x="415388" y="-21048"/>
                  <a:pt x="569831" y="0"/>
                </a:cubicBezTo>
                <a:cubicBezTo>
                  <a:pt x="724274" y="21048"/>
                  <a:pt x="769333" y="-2353"/>
                  <a:pt x="922584" y="0"/>
                </a:cubicBezTo>
                <a:cubicBezTo>
                  <a:pt x="1075835" y="2353"/>
                  <a:pt x="1399490" y="-145"/>
                  <a:pt x="1818033" y="0"/>
                </a:cubicBezTo>
                <a:cubicBezTo>
                  <a:pt x="2236576" y="145"/>
                  <a:pt x="2145330" y="5482"/>
                  <a:pt x="2387864" y="0"/>
                </a:cubicBezTo>
                <a:cubicBezTo>
                  <a:pt x="2630398" y="-5482"/>
                  <a:pt x="2793207" y="18487"/>
                  <a:pt x="2957695" y="0"/>
                </a:cubicBezTo>
                <a:cubicBezTo>
                  <a:pt x="3122183" y="-18487"/>
                  <a:pt x="3579141" y="19003"/>
                  <a:pt x="3853144" y="0"/>
                </a:cubicBezTo>
                <a:cubicBezTo>
                  <a:pt x="4127147" y="-19003"/>
                  <a:pt x="4209857" y="12211"/>
                  <a:pt x="4314436" y="0"/>
                </a:cubicBezTo>
                <a:cubicBezTo>
                  <a:pt x="4419015" y="-12211"/>
                  <a:pt x="4762459" y="-17220"/>
                  <a:pt x="5209885" y="0"/>
                </a:cubicBezTo>
                <a:cubicBezTo>
                  <a:pt x="5657311" y="17220"/>
                  <a:pt x="5692663" y="-3290"/>
                  <a:pt x="6105335" y="0"/>
                </a:cubicBezTo>
                <a:cubicBezTo>
                  <a:pt x="6518007" y="3290"/>
                  <a:pt x="6455516" y="-5124"/>
                  <a:pt x="6783705" y="0"/>
                </a:cubicBezTo>
                <a:cubicBezTo>
                  <a:pt x="7111894" y="5124"/>
                  <a:pt x="7441941" y="-17829"/>
                  <a:pt x="7679154" y="0"/>
                </a:cubicBezTo>
                <a:cubicBezTo>
                  <a:pt x="7916367" y="17829"/>
                  <a:pt x="8102967" y="-24363"/>
                  <a:pt x="8248985" y="0"/>
                </a:cubicBezTo>
                <a:cubicBezTo>
                  <a:pt x="8395003" y="24363"/>
                  <a:pt x="8552393" y="25505"/>
                  <a:pt x="8818817" y="0"/>
                </a:cubicBezTo>
                <a:cubicBezTo>
                  <a:pt x="9085241" y="-25505"/>
                  <a:pt x="9411308" y="38000"/>
                  <a:pt x="9605726" y="0"/>
                </a:cubicBezTo>
                <a:cubicBezTo>
                  <a:pt x="9800144" y="-38000"/>
                  <a:pt x="10006468" y="-25741"/>
                  <a:pt x="10175558" y="0"/>
                </a:cubicBezTo>
                <a:cubicBezTo>
                  <a:pt x="10344648" y="25741"/>
                  <a:pt x="10696282" y="695"/>
                  <a:pt x="10853928" y="0"/>
                </a:cubicBezTo>
                <a:cubicBezTo>
                  <a:pt x="10853521" y="8690"/>
                  <a:pt x="10853774" y="14141"/>
                  <a:pt x="10853928" y="18288"/>
                </a:cubicBezTo>
                <a:cubicBezTo>
                  <a:pt x="10608124" y="24255"/>
                  <a:pt x="10343415" y="22307"/>
                  <a:pt x="10067018" y="18288"/>
                </a:cubicBezTo>
                <a:cubicBezTo>
                  <a:pt x="9790621" y="14270"/>
                  <a:pt x="9843266" y="3564"/>
                  <a:pt x="9714266" y="18288"/>
                </a:cubicBezTo>
                <a:cubicBezTo>
                  <a:pt x="9585266" y="33012"/>
                  <a:pt x="9379484" y="1875"/>
                  <a:pt x="9252974" y="18288"/>
                </a:cubicBezTo>
                <a:cubicBezTo>
                  <a:pt x="9126464" y="34701"/>
                  <a:pt x="8580678" y="-4904"/>
                  <a:pt x="8357525" y="18288"/>
                </a:cubicBezTo>
                <a:cubicBezTo>
                  <a:pt x="8134372" y="41480"/>
                  <a:pt x="7903199" y="26458"/>
                  <a:pt x="7679154" y="18288"/>
                </a:cubicBezTo>
                <a:cubicBezTo>
                  <a:pt x="7455109" y="10118"/>
                  <a:pt x="7435944" y="27109"/>
                  <a:pt x="7217862" y="18288"/>
                </a:cubicBezTo>
                <a:cubicBezTo>
                  <a:pt x="6999780" y="9467"/>
                  <a:pt x="6680409" y="18985"/>
                  <a:pt x="6539492" y="18288"/>
                </a:cubicBezTo>
                <a:cubicBezTo>
                  <a:pt x="6398575" y="17592"/>
                  <a:pt x="6312077" y="33018"/>
                  <a:pt x="6186739" y="18288"/>
                </a:cubicBezTo>
                <a:cubicBezTo>
                  <a:pt x="6061401" y="3558"/>
                  <a:pt x="5947033" y="12075"/>
                  <a:pt x="5833986" y="18288"/>
                </a:cubicBezTo>
                <a:cubicBezTo>
                  <a:pt x="5720939" y="24501"/>
                  <a:pt x="5482226" y="8586"/>
                  <a:pt x="5155616" y="18288"/>
                </a:cubicBezTo>
                <a:cubicBezTo>
                  <a:pt x="4829006" y="27991"/>
                  <a:pt x="4841274" y="29316"/>
                  <a:pt x="4694324" y="18288"/>
                </a:cubicBezTo>
                <a:cubicBezTo>
                  <a:pt x="4547374" y="7260"/>
                  <a:pt x="4077675" y="7013"/>
                  <a:pt x="3907414" y="18288"/>
                </a:cubicBezTo>
                <a:cubicBezTo>
                  <a:pt x="3737153" y="29564"/>
                  <a:pt x="3538393" y="21630"/>
                  <a:pt x="3446122" y="18288"/>
                </a:cubicBezTo>
                <a:cubicBezTo>
                  <a:pt x="3353851" y="14946"/>
                  <a:pt x="2990320" y="-8091"/>
                  <a:pt x="2659212" y="18288"/>
                </a:cubicBezTo>
                <a:cubicBezTo>
                  <a:pt x="2328104" y="44667"/>
                  <a:pt x="2427653" y="9607"/>
                  <a:pt x="2306460" y="18288"/>
                </a:cubicBezTo>
                <a:cubicBezTo>
                  <a:pt x="2185267" y="26969"/>
                  <a:pt x="1719763" y="3717"/>
                  <a:pt x="1519550" y="18288"/>
                </a:cubicBezTo>
                <a:cubicBezTo>
                  <a:pt x="1319337" y="32860"/>
                  <a:pt x="1167371" y="17040"/>
                  <a:pt x="1058258" y="18288"/>
                </a:cubicBezTo>
                <a:cubicBezTo>
                  <a:pt x="949145" y="19536"/>
                  <a:pt x="780234" y="31447"/>
                  <a:pt x="705505" y="18288"/>
                </a:cubicBezTo>
                <a:cubicBezTo>
                  <a:pt x="630776" y="5129"/>
                  <a:pt x="215796" y="30056"/>
                  <a:pt x="0" y="18288"/>
                </a:cubicBezTo>
                <a:cubicBezTo>
                  <a:pt x="-53" y="11301"/>
                  <a:pt x="-649" y="7756"/>
                  <a:pt x="0" y="0"/>
                </a:cubicBezTo>
                <a:close/>
              </a:path>
            </a:pathLst>
          </a:custGeom>
          <a:solidFill>
            <a:schemeClr val="accent2"/>
          </a:solidFill>
          <a:ln w="41275" cap="rnd">
            <a:solidFill>
              <a:schemeClr val="accent2"/>
            </a:solidFill>
            <a:round/>
            <a:extLst>
              <a:ext uri="{C807C97D-BFC1-408E-A445-0C87EB9F89A2}">
                <ask:lineSketchStyleProps xmlns:ask="http://schemas.microsoft.com/office/drawing/2018/sketchyshapes" sd="1219033472">
                  <a:prstGeom prst="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9FA71A85-160A-4CFF-9241-BA71D421B86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1021" y="1690689"/>
            <a:ext cx="11904956" cy="5002010"/>
          </a:xfrm>
        </p:spPr>
        <p:txBody>
          <a:bodyPr>
            <a:normAutofit fontScale="32500" lnSpcReduction="20000"/>
          </a:bodyPr>
          <a:lstStyle/>
          <a:p>
            <a:pPr marL="0" indent="0">
              <a:buNone/>
            </a:pPr>
            <a:r>
              <a:rPr lang="fr-FR" sz="15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 </a:t>
            </a:r>
          </a:p>
          <a:p>
            <a:pPr algn="just"/>
            <a:r>
              <a:rPr lang="fr-FR" sz="5500" b="1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Ex 5) </a:t>
            </a:r>
            <a:r>
              <a:rPr lang="fr-FR" sz="55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L’entreprise achète un véhicule de transport, au comptant par chèque : 125 000 €.</a:t>
            </a:r>
          </a:p>
          <a:p>
            <a:pPr marL="723900" algn="just"/>
            <a:r>
              <a:rPr lang="fr-FR" sz="55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=&gt; 2182 Matériel de transport / =&gt; 512 Banque</a:t>
            </a:r>
          </a:p>
          <a:p>
            <a:pPr algn="just"/>
            <a:r>
              <a:rPr lang="fr-FR" sz="55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 </a:t>
            </a:r>
          </a:p>
          <a:p>
            <a:pPr algn="just"/>
            <a:r>
              <a:rPr lang="fr-FR" sz="5500" b="1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Ex 6) </a:t>
            </a:r>
            <a:r>
              <a:rPr lang="fr-FR" sz="55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L’entreprise verse le montant de la caisse sur son compte en banque : 5 000 €</a:t>
            </a:r>
          </a:p>
          <a:p>
            <a:pPr marL="723900" algn="just"/>
            <a:r>
              <a:rPr lang="fr-FR" sz="55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=&gt; 53 Caisse / =&gt; 512 Banque</a:t>
            </a:r>
          </a:p>
          <a:p>
            <a:pPr algn="just"/>
            <a:r>
              <a:rPr lang="fr-FR" sz="55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 </a:t>
            </a:r>
          </a:p>
          <a:p>
            <a:pPr algn="just"/>
            <a:r>
              <a:rPr lang="fr-FR" sz="5500" b="1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Ex 7) </a:t>
            </a:r>
            <a:r>
              <a:rPr lang="fr-FR" sz="55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L’entreprise sort du liquide, de son compte en banque, et le met en caisse : 25 000 €</a:t>
            </a:r>
          </a:p>
          <a:p>
            <a:pPr algn="just"/>
            <a:r>
              <a:rPr lang="fr-FR" sz="55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=&gt; 53 Caisse / =&gt; 512 Banque</a:t>
            </a:r>
          </a:p>
          <a:p>
            <a:pPr algn="just"/>
            <a:r>
              <a:rPr lang="fr-FR" sz="5500" b="1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 </a:t>
            </a:r>
            <a:endParaRPr lang="fr-FR" sz="5500" dirty="0">
              <a:effectLst/>
              <a:latin typeface="Verdana" panose="020B060403050404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just"/>
            <a:r>
              <a:rPr lang="fr-FR" sz="5500" b="1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Ex 8) </a:t>
            </a:r>
            <a:r>
              <a:rPr lang="fr-FR" sz="55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L’entreprise règle par chèque une dette envers un fournisseur à qui elle devait 15 000 €</a:t>
            </a:r>
          </a:p>
          <a:p>
            <a:pPr marL="723900" algn="just"/>
            <a:r>
              <a:rPr lang="fr-FR" sz="55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=&gt; 512 Banque  / =&gt; 401 Fournisseur</a:t>
            </a:r>
          </a:p>
          <a:p>
            <a:pPr algn="just"/>
            <a:r>
              <a:rPr lang="fr-FR" sz="55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 </a:t>
            </a:r>
          </a:p>
          <a:p>
            <a:pPr algn="just"/>
            <a:r>
              <a:rPr lang="fr-FR" sz="5500" b="1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Ex 9)</a:t>
            </a:r>
            <a:r>
              <a:rPr lang="fr-FR" sz="55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Un client règle, en liquide, 3 500 € qu'il nous devait.</a:t>
            </a:r>
          </a:p>
          <a:p>
            <a:pPr marL="723900" algn="just"/>
            <a:r>
              <a:rPr lang="fr-FR" sz="55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=&gt; 53 Caisse / =&gt; 411 Clients</a:t>
            </a:r>
          </a:p>
          <a:p>
            <a:pPr algn="just"/>
            <a:r>
              <a:rPr lang="fr-FR" sz="55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 </a:t>
            </a:r>
          </a:p>
          <a:p>
            <a:endParaRPr lang="fr-FR" sz="1500" dirty="0"/>
          </a:p>
        </p:txBody>
      </p:sp>
    </p:spTree>
    <p:extLst>
      <p:ext uri="{BB962C8B-B14F-4D97-AF65-F5344CB8AC3E}">
        <p14:creationId xmlns:p14="http://schemas.microsoft.com/office/powerpoint/2010/main" val="212019408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AEFCB68E-E041-4E46-A233-3C2208DA32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53363" y="365760"/>
            <a:ext cx="9367203" cy="1188720"/>
          </a:xfrm>
        </p:spPr>
        <p:txBody>
          <a:bodyPr>
            <a:normAutofit/>
          </a:bodyPr>
          <a:lstStyle/>
          <a:p>
            <a:r>
              <a:rPr lang="fr-FR" dirty="0"/>
              <a:t>Comptabilisation – oui mais comment ?</a:t>
            </a:r>
          </a:p>
        </p:txBody>
      </p:sp>
      <p:sp>
        <p:nvSpPr>
          <p:cNvPr id="8" name="Freeform: Shape 7">
            <a:extLst>
              <a:ext uri="{FF2B5EF4-FFF2-40B4-BE49-F238E27FC236}">
                <a16:creationId xmlns:a16="http://schemas.microsoft.com/office/drawing/2014/main" id="{7CB4857B-ED7C-444D-9F04-2F885114A1C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" y="0"/>
            <a:ext cx="1764099" cy="1558212"/>
          </a:xfrm>
          <a:custGeom>
            <a:avLst/>
            <a:gdLst>
              <a:gd name="connsiteX0" fmla="*/ 0 w 1764099"/>
              <a:gd name="connsiteY0" fmla="*/ 0 h 1558212"/>
              <a:gd name="connsiteX1" fmla="*/ 1764099 w 1764099"/>
              <a:gd name="connsiteY1" fmla="*/ 0 h 1558212"/>
              <a:gd name="connsiteX2" fmla="*/ 1042087 w 1764099"/>
              <a:gd name="connsiteY2" fmla="*/ 1558212 h 1558212"/>
              <a:gd name="connsiteX3" fmla="*/ 0 w 1764099"/>
              <a:gd name="connsiteY3" fmla="*/ 1558212 h 15582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764099" h="1558212">
                <a:moveTo>
                  <a:pt x="0" y="0"/>
                </a:moveTo>
                <a:lnTo>
                  <a:pt x="1764099" y="0"/>
                </a:lnTo>
                <a:lnTo>
                  <a:pt x="1042087" y="1558212"/>
                </a:lnTo>
                <a:lnTo>
                  <a:pt x="0" y="1558212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D18046FB-44EA-4FD8-A585-EA09A319B2D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" y="1691640"/>
            <a:ext cx="12191999" cy="5166360"/>
          </a:xfrm>
          <a:custGeom>
            <a:avLst/>
            <a:gdLst>
              <a:gd name="connsiteX0" fmla="*/ 0 w 12191999"/>
              <a:gd name="connsiteY0" fmla="*/ 0 h 5166360"/>
              <a:gd name="connsiteX1" fmla="*/ 1822388 w 12191999"/>
              <a:gd name="connsiteY1" fmla="*/ 0 h 5166360"/>
              <a:gd name="connsiteX2" fmla="*/ 6468290 w 12191999"/>
              <a:gd name="connsiteY2" fmla="*/ 0 h 5166360"/>
              <a:gd name="connsiteX3" fmla="*/ 7796394 w 12191999"/>
              <a:gd name="connsiteY3" fmla="*/ 0 h 5166360"/>
              <a:gd name="connsiteX4" fmla="*/ 8376834 w 12191999"/>
              <a:gd name="connsiteY4" fmla="*/ 0 h 5166360"/>
              <a:gd name="connsiteX5" fmla="*/ 9704938 w 12191999"/>
              <a:gd name="connsiteY5" fmla="*/ 0 h 5166360"/>
              <a:gd name="connsiteX6" fmla="*/ 9704938 w 12191999"/>
              <a:gd name="connsiteY6" fmla="*/ 2 h 5166360"/>
              <a:gd name="connsiteX7" fmla="*/ 10283456 w 12191999"/>
              <a:gd name="connsiteY7" fmla="*/ 2 h 5166360"/>
              <a:gd name="connsiteX8" fmla="*/ 10863897 w 12191999"/>
              <a:gd name="connsiteY8" fmla="*/ 2 h 5166360"/>
              <a:gd name="connsiteX9" fmla="*/ 12191999 w 12191999"/>
              <a:gd name="connsiteY9" fmla="*/ 2 h 5166360"/>
              <a:gd name="connsiteX10" fmla="*/ 12191999 w 12191999"/>
              <a:gd name="connsiteY10" fmla="*/ 5166360 h 5166360"/>
              <a:gd name="connsiteX11" fmla="*/ 0 w 12191999"/>
              <a:gd name="connsiteY11" fmla="*/ 5166360 h 5166360"/>
              <a:gd name="connsiteX12" fmla="*/ 0 w 12191999"/>
              <a:gd name="connsiteY12" fmla="*/ 2604436 h 5166360"/>
              <a:gd name="connsiteX13" fmla="*/ 862341 w 12191999"/>
              <a:gd name="connsiteY13" fmla="*/ 743371 h 5166360"/>
              <a:gd name="connsiteX14" fmla="*/ 0 w 12191999"/>
              <a:gd name="connsiteY14" fmla="*/ 743371 h 5166360"/>
              <a:gd name="connsiteX15" fmla="*/ 0 w 12191999"/>
              <a:gd name="connsiteY15" fmla="*/ 742508 h 5166360"/>
              <a:gd name="connsiteX16" fmla="*/ 92826 w 12191999"/>
              <a:gd name="connsiteY16" fmla="*/ 742508 h 5166360"/>
              <a:gd name="connsiteX17" fmla="*/ 406486 w 12191999"/>
              <a:gd name="connsiteY17" fmla="*/ 742508 h 5166360"/>
              <a:gd name="connsiteX18" fmla="*/ 406486 w 12191999"/>
              <a:gd name="connsiteY18" fmla="*/ 742507 h 5166360"/>
              <a:gd name="connsiteX19" fmla="*/ 862741 w 12191999"/>
              <a:gd name="connsiteY19" fmla="*/ 742507 h 5166360"/>
              <a:gd name="connsiteX20" fmla="*/ 1206388 w 12191999"/>
              <a:gd name="connsiteY20" fmla="*/ 864 h 5166360"/>
              <a:gd name="connsiteX21" fmla="*/ 748500 w 12191999"/>
              <a:gd name="connsiteY21" fmla="*/ 864 h 5166360"/>
              <a:gd name="connsiteX22" fmla="*/ 0 w 12191999"/>
              <a:gd name="connsiteY22" fmla="*/ 864 h 51663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12191999" h="5166360">
                <a:moveTo>
                  <a:pt x="0" y="0"/>
                </a:moveTo>
                <a:lnTo>
                  <a:pt x="1822388" y="0"/>
                </a:lnTo>
                <a:lnTo>
                  <a:pt x="6468290" y="0"/>
                </a:lnTo>
                <a:lnTo>
                  <a:pt x="7796394" y="0"/>
                </a:lnTo>
                <a:lnTo>
                  <a:pt x="8376834" y="0"/>
                </a:lnTo>
                <a:lnTo>
                  <a:pt x="9704938" y="0"/>
                </a:lnTo>
                <a:lnTo>
                  <a:pt x="9704938" y="2"/>
                </a:lnTo>
                <a:lnTo>
                  <a:pt x="10283456" y="2"/>
                </a:lnTo>
                <a:lnTo>
                  <a:pt x="10863897" y="2"/>
                </a:lnTo>
                <a:lnTo>
                  <a:pt x="12191999" y="2"/>
                </a:lnTo>
                <a:lnTo>
                  <a:pt x="12191999" y="5166360"/>
                </a:lnTo>
                <a:lnTo>
                  <a:pt x="0" y="5166360"/>
                </a:lnTo>
                <a:lnTo>
                  <a:pt x="0" y="2604436"/>
                </a:lnTo>
                <a:lnTo>
                  <a:pt x="862341" y="743371"/>
                </a:lnTo>
                <a:lnTo>
                  <a:pt x="0" y="743371"/>
                </a:lnTo>
                <a:lnTo>
                  <a:pt x="0" y="742508"/>
                </a:lnTo>
                <a:lnTo>
                  <a:pt x="92826" y="742508"/>
                </a:lnTo>
                <a:lnTo>
                  <a:pt x="406486" y="742508"/>
                </a:lnTo>
                <a:lnTo>
                  <a:pt x="406486" y="742507"/>
                </a:lnTo>
                <a:lnTo>
                  <a:pt x="862741" y="742507"/>
                </a:lnTo>
                <a:lnTo>
                  <a:pt x="1206388" y="864"/>
                </a:lnTo>
                <a:lnTo>
                  <a:pt x="748500" y="864"/>
                </a:lnTo>
                <a:lnTo>
                  <a:pt x="0" y="864"/>
                </a:lnTo>
                <a:close/>
              </a:path>
            </a:pathLst>
          </a:custGeom>
          <a:solidFill>
            <a:srgbClr val="A6A6A6">
              <a:alpha val="4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479F5F2B-8B58-4140-AE6A-51F6C67B18D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1691641"/>
            <a:ext cx="971654" cy="2096979"/>
          </a:xfrm>
          <a:custGeom>
            <a:avLst/>
            <a:gdLst>
              <a:gd name="connsiteX0" fmla="*/ 0 w 971654"/>
              <a:gd name="connsiteY0" fmla="*/ 0 h 2096979"/>
              <a:gd name="connsiteX1" fmla="*/ 971654 w 971654"/>
              <a:gd name="connsiteY1" fmla="*/ 0 h 2096979"/>
              <a:gd name="connsiteX2" fmla="*/ 0 w 971654"/>
              <a:gd name="connsiteY2" fmla="*/ 2096979 h 20969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971654" h="2096979">
                <a:moveTo>
                  <a:pt x="0" y="0"/>
                </a:moveTo>
                <a:lnTo>
                  <a:pt x="971654" y="0"/>
                </a:lnTo>
                <a:lnTo>
                  <a:pt x="0" y="2096979"/>
                </a:lnTo>
                <a:close/>
              </a:path>
            </a:pathLst>
          </a:custGeom>
          <a:solidFill>
            <a:srgbClr val="40404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9FA71A85-160A-4CFF-9241-BA71D421B86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182757" y="1920240"/>
            <a:ext cx="10873408" cy="4868186"/>
          </a:xfrm>
        </p:spPr>
        <p:txBody>
          <a:bodyPr anchor="t">
            <a:normAutofit/>
          </a:bodyPr>
          <a:lstStyle/>
          <a:p>
            <a:pPr marL="0" indent="0">
              <a:buNone/>
            </a:pPr>
            <a:r>
              <a:rPr lang="fr-FR" sz="13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 </a:t>
            </a:r>
          </a:p>
          <a:p>
            <a:endParaRPr lang="fr-FR" sz="2200" dirty="0">
              <a:effectLst/>
              <a:latin typeface="Verdana" panose="020B060403050404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indent="0">
              <a:buNone/>
            </a:pPr>
            <a:r>
              <a:rPr lang="fr-FR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Le plus simple est de considérer que chaque compte du plan comptable est un réceptacle (un tiroir) dans lequel le comptable va ajouter (ou retirer) un montant !</a:t>
            </a:r>
          </a:p>
          <a:p>
            <a:pPr marL="0" indent="0">
              <a:buNone/>
            </a:pPr>
            <a:endParaRPr lang="fr-FR" dirty="0">
              <a:latin typeface="Verdana" panose="020B060403050404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indent="0">
              <a:buNone/>
            </a:pPr>
            <a:r>
              <a:rPr lang="fr-FR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On identifie aussi clairement les flux</a:t>
            </a:r>
          </a:p>
          <a:p>
            <a:pPr>
              <a:buFontTx/>
              <a:buChar char="-"/>
            </a:pPr>
            <a:r>
              <a:rPr lang="fr-FR" dirty="0"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Flux économiques</a:t>
            </a:r>
          </a:p>
          <a:p>
            <a:pPr>
              <a:buFontTx/>
              <a:buChar char="-"/>
            </a:pPr>
            <a:r>
              <a:rPr lang="fr-FR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Fl</a:t>
            </a:r>
            <a:r>
              <a:rPr lang="fr-FR" dirty="0"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ux financiers</a:t>
            </a:r>
            <a:endParaRPr lang="fr-FR" dirty="0">
              <a:effectLst/>
              <a:latin typeface="Verdana" panose="020B060403050404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indent="0">
              <a:buNone/>
            </a:pPr>
            <a:endParaRPr lang="fr-FR" sz="2200" dirty="0">
              <a:effectLst/>
              <a:latin typeface="Verdana" panose="020B060403050404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endParaRPr lang="fr-FR" sz="1300" dirty="0"/>
          </a:p>
        </p:txBody>
      </p:sp>
    </p:spTree>
    <p:extLst>
      <p:ext uri="{BB962C8B-B14F-4D97-AF65-F5344CB8AC3E}">
        <p14:creationId xmlns:p14="http://schemas.microsoft.com/office/powerpoint/2010/main" val="355550651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AEFCB68E-E041-4E46-A233-3C2208DA32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53363" y="365760"/>
            <a:ext cx="9367203" cy="1188720"/>
          </a:xfrm>
        </p:spPr>
        <p:txBody>
          <a:bodyPr>
            <a:normAutofit/>
          </a:bodyPr>
          <a:lstStyle/>
          <a:p>
            <a:r>
              <a:rPr lang="fr-FR" dirty="0"/>
              <a:t>Comptabilisation – oui mais comment ?</a:t>
            </a:r>
          </a:p>
        </p:txBody>
      </p:sp>
      <p:sp>
        <p:nvSpPr>
          <p:cNvPr id="8" name="Freeform: Shape 7">
            <a:extLst>
              <a:ext uri="{FF2B5EF4-FFF2-40B4-BE49-F238E27FC236}">
                <a16:creationId xmlns:a16="http://schemas.microsoft.com/office/drawing/2014/main" id="{7CB4857B-ED7C-444D-9F04-2F885114A1C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" y="0"/>
            <a:ext cx="1764099" cy="1558212"/>
          </a:xfrm>
          <a:custGeom>
            <a:avLst/>
            <a:gdLst>
              <a:gd name="connsiteX0" fmla="*/ 0 w 1764099"/>
              <a:gd name="connsiteY0" fmla="*/ 0 h 1558212"/>
              <a:gd name="connsiteX1" fmla="*/ 1764099 w 1764099"/>
              <a:gd name="connsiteY1" fmla="*/ 0 h 1558212"/>
              <a:gd name="connsiteX2" fmla="*/ 1042087 w 1764099"/>
              <a:gd name="connsiteY2" fmla="*/ 1558212 h 1558212"/>
              <a:gd name="connsiteX3" fmla="*/ 0 w 1764099"/>
              <a:gd name="connsiteY3" fmla="*/ 1558212 h 15582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764099" h="1558212">
                <a:moveTo>
                  <a:pt x="0" y="0"/>
                </a:moveTo>
                <a:lnTo>
                  <a:pt x="1764099" y="0"/>
                </a:lnTo>
                <a:lnTo>
                  <a:pt x="1042087" y="1558212"/>
                </a:lnTo>
                <a:lnTo>
                  <a:pt x="0" y="1558212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D18046FB-44EA-4FD8-A585-EA09A319B2D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" y="1691640"/>
            <a:ext cx="12191999" cy="5166360"/>
          </a:xfrm>
          <a:custGeom>
            <a:avLst/>
            <a:gdLst>
              <a:gd name="connsiteX0" fmla="*/ 0 w 12191999"/>
              <a:gd name="connsiteY0" fmla="*/ 0 h 5166360"/>
              <a:gd name="connsiteX1" fmla="*/ 1822388 w 12191999"/>
              <a:gd name="connsiteY1" fmla="*/ 0 h 5166360"/>
              <a:gd name="connsiteX2" fmla="*/ 6468290 w 12191999"/>
              <a:gd name="connsiteY2" fmla="*/ 0 h 5166360"/>
              <a:gd name="connsiteX3" fmla="*/ 7796394 w 12191999"/>
              <a:gd name="connsiteY3" fmla="*/ 0 h 5166360"/>
              <a:gd name="connsiteX4" fmla="*/ 8376834 w 12191999"/>
              <a:gd name="connsiteY4" fmla="*/ 0 h 5166360"/>
              <a:gd name="connsiteX5" fmla="*/ 9704938 w 12191999"/>
              <a:gd name="connsiteY5" fmla="*/ 0 h 5166360"/>
              <a:gd name="connsiteX6" fmla="*/ 9704938 w 12191999"/>
              <a:gd name="connsiteY6" fmla="*/ 2 h 5166360"/>
              <a:gd name="connsiteX7" fmla="*/ 10283456 w 12191999"/>
              <a:gd name="connsiteY7" fmla="*/ 2 h 5166360"/>
              <a:gd name="connsiteX8" fmla="*/ 10863897 w 12191999"/>
              <a:gd name="connsiteY8" fmla="*/ 2 h 5166360"/>
              <a:gd name="connsiteX9" fmla="*/ 12191999 w 12191999"/>
              <a:gd name="connsiteY9" fmla="*/ 2 h 5166360"/>
              <a:gd name="connsiteX10" fmla="*/ 12191999 w 12191999"/>
              <a:gd name="connsiteY10" fmla="*/ 5166360 h 5166360"/>
              <a:gd name="connsiteX11" fmla="*/ 0 w 12191999"/>
              <a:gd name="connsiteY11" fmla="*/ 5166360 h 5166360"/>
              <a:gd name="connsiteX12" fmla="*/ 0 w 12191999"/>
              <a:gd name="connsiteY12" fmla="*/ 2604436 h 5166360"/>
              <a:gd name="connsiteX13" fmla="*/ 862341 w 12191999"/>
              <a:gd name="connsiteY13" fmla="*/ 743371 h 5166360"/>
              <a:gd name="connsiteX14" fmla="*/ 0 w 12191999"/>
              <a:gd name="connsiteY14" fmla="*/ 743371 h 5166360"/>
              <a:gd name="connsiteX15" fmla="*/ 0 w 12191999"/>
              <a:gd name="connsiteY15" fmla="*/ 742508 h 5166360"/>
              <a:gd name="connsiteX16" fmla="*/ 92826 w 12191999"/>
              <a:gd name="connsiteY16" fmla="*/ 742508 h 5166360"/>
              <a:gd name="connsiteX17" fmla="*/ 406486 w 12191999"/>
              <a:gd name="connsiteY17" fmla="*/ 742508 h 5166360"/>
              <a:gd name="connsiteX18" fmla="*/ 406486 w 12191999"/>
              <a:gd name="connsiteY18" fmla="*/ 742507 h 5166360"/>
              <a:gd name="connsiteX19" fmla="*/ 862741 w 12191999"/>
              <a:gd name="connsiteY19" fmla="*/ 742507 h 5166360"/>
              <a:gd name="connsiteX20" fmla="*/ 1206388 w 12191999"/>
              <a:gd name="connsiteY20" fmla="*/ 864 h 5166360"/>
              <a:gd name="connsiteX21" fmla="*/ 748500 w 12191999"/>
              <a:gd name="connsiteY21" fmla="*/ 864 h 5166360"/>
              <a:gd name="connsiteX22" fmla="*/ 0 w 12191999"/>
              <a:gd name="connsiteY22" fmla="*/ 864 h 51663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12191999" h="5166360">
                <a:moveTo>
                  <a:pt x="0" y="0"/>
                </a:moveTo>
                <a:lnTo>
                  <a:pt x="1822388" y="0"/>
                </a:lnTo>
                <a:lnTo>
                  <a:pt x="6468290" y="0"/>
                </a:lnTo>
                <a:lnTo>
                  <a:pt x="7796394" y="0"/>
                </a:lnTo>
                <a:lnTo>
                  <a:pt x="8376834" y="0"/>
                </a:lnTo>
                <a:lnTo>
                  <a:pt x="9704938" y="0"/>
                </a:lnTo>
                <a:lnTo>
                  <a:pt x="9704938" y="2"/>
                </a:lnTo>
                <a:lnTo>
                  <a:pt x="10283456" y="2"/>
                </a:lnTo>
                <a:lnTo>
                  <a:pt x="10863897" y="2"/>
                </a:lnTo>
                <a:lnTo>
                  <a:pt x="12191999" y="2"/>
                </a:lnTo>
                <a:lnTo>
                  <a:pt x="12191999" y="5166360"/>
                </a:lnTo>
                <a:lnTo>
                  <a:pt x="0" y="5166360"/>
                </a:lnTo>
                <a:lnTo>
                  <a:pt x="0" y="2604436"/>
                </a:lnTo>
                <a:lnTo>
                  <a:pt x="862341" y="743371"/>
                </a:lnTo>
                <a:lnTo>
                  <a:pt x="0" y="743371"/>
                </a:lnTo>
                <a:lnTo>
                  <a:pt x="0" y="742508"/>
                </a:lnTo>
                <a:lnTo>
                  <a:pt x="92826" y="742508"/>
                </a:lnTo>
                <a:lnTo>
                  <a:pt x="406486" y="742508"/>
                </a:lnTo>
                <a:lnTo>
                  <a:pt x="406486" y="742507"/>
                </a:lnTo>
                <a:lnTo>
                  <a:pt x="862741" y="742507"/>
                </a:lnTo>
                <a:lnTo>
                  <a:pt x="1206388" y="864"/>
                </a:lnTo>
                <a:lnTo>
                  <a:pt x="748500" y="864"/>
                </a:lnTo>
                <a:lnTo>
                  <a:pt x="0" y="864"/>
                </a:lnTo>
                <a:close/>
              </a:path>
            </a:pathLst>
          </a:custGeom>
          <a:solidFill>
            <a:srgbClr val="A6A6A6">
              <a:alpha val="4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479F5F2B-8B58-4140-AE6A-51F6C67B18D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1691641"/>
            <a:ext cx="971654" cy="2096979"/>
          </a:xfrm>
          <a:custGeom>
            <a:avLst/>
            <a:gdLst>
              <a:gd name="connsiteX0" fmla="*/ 0 w 971654"/>
              <a:gd name="connsiteY0" fmla="*/ 0 h 2096979"/>
              <a:gd name="connsiteX1" fmla="*/ 971654 w 971654"/>
              <a:gd name="connsiteY1" fmla="*/ 0 h 2096979"/>
              <a:gd name="connsiteX2" fmla="*/ 0 w 971654"/>
              <a:gd name="connsiteY2" fmla="*/ 2096979 h 20969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971654" h="2096979">
                <a:moveTo>
                  <a:pt x="0" y="0"/>
                </a:moveTo>
                <a:lnTo>
                  <a:pt x="971654" y="0"/>
                </a:lnTo>
                <a:lnTo>
                  <a:pt x="0" y="2096979"/>
                </a:lnTo>
                <a:close/>
              </a:path>
            </a:pathLst>
          </a:custGeom>
          <a:solidFill>
            <a:srgbClr val="40404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9FA71A85-160A-4CFF-9241-BA71D421B86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182757" y="1920240"/>
            <a:ext cx="10873408" cy="4868186"/>
          </a:xfrm>
        </p:spPr>
        <p:txBody>
          <a:bodyPr anchor="t">
            <a:normAutofit/>
          </a:bodyPr>
          <a:lstStyle/>
          <a:p>
            <a:pPr marL="0" indent="0">
              <a:buNone/>
            </a:pPr>
            <a:r>
              <a:rPr lang="fr-FR" sz="13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 </a:t>
            </a:r>
          </a:p>
          <a:p>
            <a:endParaRPr lang="fr-FR" sz="2200" dirty="0">
              <a:effectLst/>
              <a:latin typeface="Verdana" panose="020B060403050404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indent="0">
              <a:buNone/>
            </a:pPr>
            <a:endParaRPr lang="fr-FR" sz="2200" dirty="0">
              <a:effectLst/>
              <a:latin typeface="Verdana" panose="020B060403050404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endParaRPr lang="fr-FR" sz="1300" dirty="0"/>
          </a:p>
        </p:txBody>
      </p:sp>
      <p:graphicFrame>
        <p:nvGraphicFramePr>
          <p:cNvPr id="4" name="Tableau 3">
            <a:extLst>
              <a:ext uri="{FF2B5EF4-FFF2-40B4-BE49-F238E27FC236}">
                <a16:creationId xmlns:a16="http://schemas.microsoft.com/office/drawing/2014/main" id="{67F7EEFE-A2CB-4C9D-9032-43B5B4E0EC06}"/>
              </a:ext>
            </a:extLst>
          </p:cNvPr>
          <p:cNvGraphicFramePr>
            <a:graphicFrameLocks noGrp="1"/>
          </p:cNvGraphicFramePr>
          <p:nvPr/>
        </p:nvGraphicFramePr>
        <p:xfrm>
          <a:off x="723900" y="2066925"/>
          <a:ext cx="5270915" cy="3909264"/>
        </p:xfrm>
        <a:graphic>
          <a:graphicData uri="http://schemas.openxmlformats.org/drawingml/2006/table">
            <a:tbl>
              <a:tblPr firstRow="1" firstCol="1" bandRow="1"/>
              <a:tblGrid>
                <a:gridCol w="2573335">
                  <a:extLst>
                    <a:ext uri="{9D8B030D-6E8A-4147-A177-3AD203B41FA5}">
                      <a16:colId xmlns:a16="http://schemas.microsoft.com/office/drawing/2014/main" val="2315687336"/>
                    </a:ext>
                  </a:extLst>
                </a:gridCol>
                <a:gridCol w="2697580">
                  <a:extLst>
                    <a:ext uri="{9D8B030D-6E8A-4147-A177-3AD203B41FA5}">
                      <a16:colId xmlns:a16="http://schemas.microsoft.com/office/drawing/2014/main" val="2345309610"/>
                    </a:ext>
                  </a:extLst>
                </a:gridCol>
              </a:tblGrid>
              <a:tr h="977316">
                <a:tc gridSpan="2">
                  <a:txBody>
                    <a:bodyPr/>
                    <a:lstStyle/>
                    <a:p>
                      <a:pPr algn="ctr"/>
                      <a:r>
                        <a:rPr lang="fr-FR" sz="1600" b="1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Compte de résultat</a:t>
                      </a:r>
                      <a:endParaRPr lang="fr-FR" sz="16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09180844"/>
                  </a:ext>
                </a:extLst>
              </a:tr>
              <a:tr h="977316">
                <a:tc>
                  <a:txBody>
                    <a:bodyPr/>
                    <a:lstStyle/>
                    <a:p>
                      <a:pPr algn="ctr"/>
                      <a:r>
                        <a:rPr lang="fr-FR" sz="1600" b="1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Charges</a:t>
                      </a:r>
                      <a:endParaRPr lang="fr-FR" sz="16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600" b="1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Produits</a:t>
                      </a:r>
                      <a:endParaRPr lang="fr-FR" sz="16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12004215"/>
                  </a:ext>
                </a:extLst>
              </a:tr>
              <a:tr h="977316">
                <a:tc>
                  <a:txBody>
                    <a:bodyPr/>
                    <a:lstStyle/>
                    <a:p>
                      <a:pPr algn="l"/>
                      <a:r>
                        <a:rPr lang="fr-FR" sz="16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Augmentation =&gt; Débit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sz="16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Augmentation =&gt; Crédit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50641586"/>
                  </a:ext>
                </a:extLst>
              </a:tr>
              <a:tr h="977316">
                <a:tc>
                  <a:txBody>
                    <a:bodyPr/>
                    <a:lstStyle/>
                    <a:p>
                      <a:pPr algn="l"/>
                      <a:r>
                        <a:rPr lang="fr-FR" sz="16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Diminution =&gt; Crédit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sz="16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Diminution =&gt; Débit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98090193"/>
                  </a:ext>
                </a:extLst>
              </a:tr>
            </a:tbl>
          </a:graphicData>
        </a:graphic>
      </p:graphicFrame>
      <p:pic>
        <p:nvPicPr>
          <p:cNvPr id="1026" name="Picture 2" descr="compte de resultat | Cours de comptabilité, Analyse financière, Comptabilité">
            <a:extLst>
              <a:ext uri="{FF2B5EF4-FFF2-40B4-BE49-F238E27FC236}">
                <a16:creationId xmlns:a16="http://schemas.microsoft.com/office/drawing/2014/main" id="{51A28B2C-888D-4E11-A952-098A8A2DCF6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18629" y="2066925"/>
            <a:ext cx="5905453" cy="39092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214439185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23" name="Rectangle 16">
            <a:extLst>
              <a:ext uri="{FF2B5EF4-FFF2-40B4-BE49-F238E27FC236}">
                <a16:creationId xmlns:a16="http://schemas.microsoft.com/office/drawing/2014/main" id="{8761DDFE-071F-4200-B0AA-394476C2D2D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-1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AEFCB68E-E041-4E46-A233-3C2208DA32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198" y="547816"/>
            <a:ext cx="11172827" cy="661464"/>
          </a:xfrm>
        </p:spPr>
        <p:txBody>
          <a:bodyPr>
            <a:normAutofit/>
          </a:bodyPr>
          <a:lstStyle/>
          <a:p>
            <a:r>
              <a:rPr lang="fr-FR" sz="4000" dirty="0"/>
              <a:t>Comptabilisation – oui mais comment ?</a:t>
            </a: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9FA71A85-160A-4CFF-9241-BA71D421B86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6619" y="547815"/>
            <a:ext cx="5178960" cy="1680519"/>
          </a:xfrm>
        </p:spPr>
        <p:txBody>
          <a:bodyPr anchor="ctr">
            <a:normAutofit/>
          </a:bodyPr>
          <a:lstStyle/>
          <a:p>
            <a:pPr marL="0" indent="0">
              <a:buNone/>
            </a:pPr>
            <a:r>
              <a:rPr lang="fr-FR" sz="200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 </a:t>
            </a:r>
          </a:p>
          <a:p>
            <a:endParaRPr lang="fr-FR" sz="2000">
              <a:effectLst/>
              <a:latin typeface="Verdana" panose="020B060403050404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indent="0">
              <a:buNone/>
            </a:pPr>
            <a:endParaRPr lang="fr-FR" sz="2000">
              <a:effectLst/>
              <a:latin typeface="Verdana" panose="020B060403050404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endParaRPr lang="fr-FR" sz="2000"/>
          </a:p>
        </p:txBody>
      </p:sp>
      <p:pic>
        <p:nvPicPr>
          <p:cNvPr id="6" name="Image 5">
            <a:extLst>
              <a:ext uri="{FF2B5EF4-FFF2-40B4-BE49-F238E27FC236}">
                <a16:creationId xmlns:a16="http://schemas.microsoft.com/office/drawing/2014/main" id="{33AA6049-734C-4D7F-BE75-F9294B148F0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660125" y="1632273"/>
            <a:ext cx="5418159" cy="3939852"/>
          </a:xfrm>
          <a:prstGeom prst="rect">
            <a:avLst/>
          </a:prstGeom>
        </p:spPr>
      </p:pic>
      <p:graphicFrame>
        <p:nvGraphicFramePr>
          <p:cNvPr id="5" name="Tableau 4">
            <a:extLst>
              <a:ext uri="{FF2B5EF4-FFF2-40B4-BE49-F238E27FC236}">
                <a16:creationId xmlns:a16="http://schemas.microsoft.com/office/drawing/2014/main" id="{8C184D2A-ADBF-4B50-A23F-D9937B95E3E3}"/>
              </a:ext>
            </a:extLst>
          </p:cNvPr>
          <p:cNvGraphicFramePr>
            <a:graphicFrameLocks noGrp="1"/>
          </p:cNvGraphicFramePr>
          <p:nvPr/>
        </p:nvGraphicFramePr>
        <p:xfrm>
          <a:off x="373986" y="1632273"/>
          <a:ext cx="6175472" cy="3844600"/>
        </p:xfrm>
        <a:graphic>
          <a:graphicData uri="http://schemas.openxmlformats.org/drawingml/2006/table">
            <a:tbl>
              <a:tblPr firstRow="1" firstCol="1" bandRow="1"/>
              <a:tblGrid>
                <a:gridCol w="3087736">
                  <a:extLst>
                    <a:ext uri="{9D8B030D-6E8A-4147-A177-3AD203B41FA5}">
                      <a16:colId xmlns:a16="http://schemas.microsoft.com/office/drawing/2014/main" val="1694819157"/>
                    </a:ext>
                  </a:extLst>
                </a:gridCol>
                <a:gridCol w="3087736">
                  <a:extLst>
                    <a:ext uri="{9D8B030D-6E8A-4147-A177-3AD203B41FA5}">
                      <a16:colId xmlns:a16="http://schemas.microsoft.com/office/drawing/2014/main" val="1952349672"/>
                    </a:ext>
                  </a:extLst>
                </a:gridCol>
              </a:tblGrid>
              <a:tr h="669893">
                <a:tc gridSpan="2">
                  <a:txBody>
                    <a:bodyPr/>
                    <a:lstStyle/>
                    <a:p>
                      <a:pPr algn="ctr"/>
                      <a:r>
                        <a:rPr lang="fr-FR" sz="2300" b="1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Bilan</a:t>
                      </a:r>
                      <a:endParaRPr lang="fr-FR" sz="23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8806" marR="9880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12995282"/>
                  </a:ext>
                </a:extLst>
              </a:tr>
              <a:tr h="669893">
                <a:tc>
                  <a:txBody>
                    <a:bodyPr/>
                    <a:lstStyle/>
                    <a:p>
                      <a:pPr algn="ctr"/>
                      <a:r>
                        <a:rPr lang="fr-FR" sz="2300" b="1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Actif</a:t>
                      </a:r>
                      <a:endParaRPr lang="fr-FR" sz="23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8806" marR="9880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2300" b="1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Passif</a:t>
                      </a:r>
                      <a:endParaRPr lang="fr-FR" sz="23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8806" marR="9880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19990668"/>
                  </a:ext>
                </a:extLst>
              </a:tr>
              <a:tr h="1252407">
                <a:tc>
                  <a:txBody>
                    <a:bodyPr/>
                    <a:lstStyle/>
                    <a:p>
                      <a:pPr algn="l"/>
                      <a:r>
                        <a:rPr lang="fr-FR" sz="23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Augmentation =&gt; Débit</a:t>
                      </a:r>
                    </a:p>
                  </a:txBody>
                  <a:tcPr marL="98806" marR="9880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sz="23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Augmentation =&gt; Crédit</a:t>
                      </a:r>
                    </a:p>
                  </a:txBody>
                  <a:tcPr marL="98806" marR="9880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45610393"/>
                  </a:ext>
                </a:extLst>
              </a:tr>
              <a:tr h="1252407">
                <a:tc>
                  <a:txBody>
                    <a:bodyPr/>
                    <a:lstStyle/>
                    <a:p>
                      <a:pPr algn="l"/>
                      <a:r>
                        <a:rPr lang="fr-FR" sz="23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Diminution =&gt; Crédit</a:t>
                      </a:r>
                    </a:p>
                  </a:txBody>
                  <a:tcPr marL="98806" marR="9880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sz="23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Diminution =&gt; Débit</a:t>
                      </a:r>
                    </a:p>
                  </a:txBody>
                  <a:tcPr marL="98806" marR="9880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7059293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956738131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AEFCB68E-E041-4E46-A233-3C2208DA32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53363" y="365760"/>
            <a:ext cx="9367203" cy="1188720"/>
          </a:xfrm>
        </p:spPr>
        <p:txBody>
          <a:bodyPr>
            <a:normAutofit/>
          </a:bodyPr>
          <a:lstStyle/>
          <a:p>
            <a:r>
              <a:rPr lang="fr-FR" dirty="0"/>
              <a:t>Comptabilisation - Méthode</a:t>
            </a:r>
          </a:p>
        </p:txBody>
      </p:sp>
      <p:sp>
        <p:nvSpPr>
          <p:cNvPr id="8" name="Freeform: Shape 7">
            <a:extLst>
              <a:ext uri="{FF2B5EF4-FFF2-40B4-BE49-F238E27FC236}">
                <a16:creationId xmlns:a16="http://schemas.microsoft.com/office/drawing/2014/main" id="{7CB4857B-ED7C-444D-9F04-2F885114A1C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" y="0"/>
            <a:ext cx="1764099" cy="1558212"/>
          </a:xfrm>
          <a:custGeom>
            <a:avLst/>
            <a:gdLst>
              <a:gd name="connsiteX0" fmla="*/ 0 w 1764099"/>
              <a:gd name="connsiteY0" fmla="*/ 0 h 1558212"/>
              <a:gd name="connsiteX1" fmla="*/ 1764099 w 1764099"/>
              <a:gd name="connsiteY1" fmla="*/ 0 h 1558212"/>
              <a:gd name="connsiteX2" fmla="*/ 1042087 w 1764099"/>
              <a:gd name="connsiteY2" fmla="*/ 1558212 h 1558212"/>
              <a:gd name="connsiteX3" fmla="*/ 0 w 1764099"/>
              <a:gd name="connsiteY3" fmla="*/ 1558212 h 15582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764099" h="1558212">
                <a:moveTo>
                  <a:pt x="0" y="0"/>
                </a:moveTo>
                <a:lnTo>
                  <a:pt x="1764099" y="0"/>
                </a:lnTo>
                <a:lnTo>
                  <a:pt x="1042087" y="1558212"/>
                </a:lnTo>
                <a:lnTo>
                  <a:pt x="0" y="1558212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D18046FB-44EA-4FD8-A585-EA09A319B2D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" y="1691640"/>
            <a:ext cx="12191999" cy="5166360"/>
          </a:xfrm>
          <a:custGeom>
            <a:avLst/>
            <a:gdLst>
              <a:gd name="connsiteX0" fmla="*/ 0 w 12191999"/>
              <a:gd name="connsiteY0" fmla="*/ 0 h 5166360"/>
              <a:gd name="connsiteX1" fmla="*/ 1822388 w 12191999"/>
              <a:gd name="connsiteY1" fmla="*/ 0 h 5166360"/>
              <a:gd name="connsiteX2" fmla="*/ 6468290 w 12191999"/>
              <a:gd name="connsiteY2" fmla="*/ 0 h 5166360"/>
              <a:gd name="connsiteX3" fmla="*/ 7796394 w 12191999"/>
              <a:gd name="connsiteY3" fmla="*/ 0 h 5166360"/>
              <a:gd name="connsiteX4" fmla="*/ 8376834 w 12191999"/>
              <a:gd name="connsiteY4" fmla="*/ 0 h 5166360"/>
              <a:gd name="connsiteX5" fmla="*/ 9704938 w 12191999"/>
              <a:gd name="connsiteY5" fmla="*/ 0 h 5166360"/>
              <a:gd name="connsiteX6" fmla="*/ 9704938 w 12191999"/>
              <a:gd name="connsiteY6" fmla="*/ 2 h 5166360"/>
              <a:gd name="connsiteX7" fmla="*/ 10283456 w 12191999"/>
              <a:gd name="connsiteY7" fmla="*/ 2 h 5166360"/>
              <a:gd name="connsiteX8" fmla="*/ 10863897 w 12191999"/>
              <a:gd name="connsiteY8" fmla="*/ 2 h 5166360"/>
              <a:gd name="connsiteX9" fmla="*/ 12191999 w 12191999"/>
              <a:gd name="connsiteY9" fmla="*/ 2 h 5166360"/>
              <a:gd name="connsiteX10" fmla="*/ 12191999 w 12191999"/>
              <a:gd name="connsiteY10" fmla="*/ 5166360 h 5166360"/>
              <a:gd name="connsiteX11" fmla="*/ 0 w 12191999"/>
              <a:gd name="connsiteY11" fmla="*/ 5166360 h 5166360"/>
              <a:gd name="connsiteX12" fmla="*/ 0 w 12191999"/>
              <a:gd name="connsiteY12" fmla="*/ 2604436 h 5166360"/>
              <a:gd name="connsiteX13" fmla="*/ 862341 w 12191999"/>
              <a:gd name="connsiteY13" fmla="*/ 743371 h 5166360"/>
              <a:gd name="connsiteX14" fmla="*/ 0 w 12191999"/>
              <a:gd name="connsiteY14" fmla="*/ 743371 h 5166360"/>
              <a:gd name="connsiteX15" fmla="*/ 0 w 12191999"/>
              <a:gd name="connsiteY15" fmla="*/ 742508 h 5166360"/>
              <a:gd name="connsiteX16" fmla="*/ 92826 w 12191999"/>
              <a:gd name="connsiteY16" fmla="*/ 742508 h 5166360"/>
              <a:gd name="connsiteX17" fmla="*/ 406486 w 12191999"/>
              <a:gd name="connsiteY17" fmla="*/ 742508 h 5166360"/>
              <a:gd name="connsiteX18" fmla="*/ 406486 w 12191999"/>
              <a:gd name="connsiteY18" fmla="*/ 742507 h 5166360"/>
              <a:gd name="connsiteX19" fmla="*/ 862741 w 12191999"/>
              <a:gd name="connsiteY19" fmla="*/ 742507 h 5166360"/>
              <a:gd name="connsiteX20" fmla="*/ 1206388 w 12191999"/>
              <a:gd name="connsiteY20" fmla="*/ 864 h 5166360"/>
              <a:gd name="connsiteX21" fmla="*/ 748500 w 12191999"/>
              <a:gd name="connsiteY21" fmla="*/ 864 h 5166360"/>
              <a:gd name="connsiteX22" fmla="*/ 0 w 12191999"/>
              <a:gd name="connsiteY22" fmla="*/ 864 h 51663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12191999" h="5166360">
                <a:moveTo>
                  <a:pt x="0" y="0"/>
                </a:moveTo>
                <a:lnTo>
                  <a:pt x="1822388" y="0"/>
                </a:lnTo>
                <a:lnTo>
                  <a:pt x="6468290" y="0"/>
                </a:lnTo>
                <a:lnTo>
                  <a:pt x="7796394" y="0"/>
                </a:lnTo>
                <a:lnTo>
                  <a:pt x="8376834" y="0"/>
                </a:lnTo>
                <a:lnTo>
                  <a:pt x="9704938" y="0"/>
                </a:lnTo>
                <a:lnTo>
                  <a:pt x="9704938" y="2"/>
                </a:lnTo>
                <a:lnTo>
                  <a:pt x="10283456" y="2"/>
                </a:lnTo>
                <a:lnTo>
                  <a:pt x="10863897" y="2"/>
                </a:lnTo>
                <a:lnTo>
                  <a:pt x="12191999" y="2"/>
                </a:lnTo>
                <a:lnTo>
                  <a:pt x="12191999" y="5166360"/>
                </a:lnTo>
                <a:lnTo>
                  <a:pt x="0" y="5166360"/>
                </a:lnTo>
                <a:lnTo>
                  <a:pt x="0" y="2604436"/>
                </a:lnTo>
                <a:lnTo>
                  <a:pt x="862341" y="743371"/>
                </a:lnTo>
                <a:lnTo>
                  <a:pt x="0" y="743371"/>
                </a:lnTo>
                <a:lnTo>
                  <a:pt x="0" y="742508"/>
                </a:lnTo>
                <a:lnTo>
                  <a:pt x="92826" y="742508"/>
                </a:lnTo>
                <a:lnTo>
                  <a:pt x="406486" y="742508"/>
                </a:lnTo>
                <a:lnTo>
                  <a:pt x="406486" y="742507"/>
                </a:lnTo>
                <a:lnTo>
                  <a:pt x="862741" y="742507"/>
                </a:lnTo>
                <a:lnTo>
                  <a:pt x="1206388" y="864"/>
                </a:lnTo>
                <a:lnTo>
                  <a:pt x="748500" y="864"/>
                </a:lnTo>
                <a:lnTo>
                  <a:pt x="0" y="864"/>
                </a:lnTo>
                <a:close/>
              </a:path>
            </a:pathLst>
          </a:custGeom>
          <a:solidFill>
            <a:srgbClr val="A6A6A6">
              <a:alpha val="4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479F5F2B-8B58-4140-AE6A-51F6C67B18D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1691641"/>
            <a:ext cx="971654" cy="2096979"/>
          </a:xfrm>
          <a:custGeom>
            <a:avLst/>
            <a:gdLst>
              <a:gd name="connsiteX0" fmla="*/ 0 w 971654"/>
              <a:gd name="connsiteY0" fmla="*/ 0 h 2096979"/>
              <a:gd name="connsiteX1" fmla="*/ 971654 w 971654"/>
              <a:gd name="connsiteY1" fmla="*/ 0 h 2096979"/>
              <a:gd name="connsiteX2" fmla="*/ 0 w 971654"/>
              <a:gd name="connsiteY2" fmla="*/ 2096979 h 20969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971654" h="2096979">
                <a:moveTo>
                  <a:pt x="0" y="0"/>
                </a:moveTo>
                <a:lnTo>
                  <a:pt x="971654" y="0"/>
                </a:lnTo>
                <a:lnTo>
                  <a:pt x="0" y="2096979"/>
                </a:lnTo>
                <a:close/>
              </a:path>
            </a:pathLst>
          </a:custGeom>
          <a:solidFill>
            <a:srgbClr val="40404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9FA71A85-160A-4CFF-9241-BA71D421B86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48070" y="1920240"/>
            <a:ext cx="11408095" cy="4868186"/>
          </a:xfrm>
        </p:spPr>
        <p:txBody>
          <a:bodyPr anchor="t">
            <a:normAutofit/>
          </a:bodyPr>
          <a:lstStyle/>
          <a:p>
            <a:pPr marL="0" indent="0">
              <a:buNone/>
            </a:pPr>
            <a:r>
              <a:rPr lang="fr-FR" sz="13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 </a:t>
            </a:r>
          </a:p>
          <a:p>
            <a:pPr marL="0" indent="0">
              <a:buNone/>
            </a:pPr>
            <a:endParaRPr lang="fr-FR" sz="1300" b="1" u="sng" dirty="0">
              <a:latin typeface="Verdana" panose="020B0604030504040204" pitchFamily="34" charset="0"/>
              <a:cs typeface="Times New Roman" panose="02020603050405020304" pitchFamily="18" charset="0"/>
            </a:endParaRPr>
          </a:p>
          <a:p>
            <a:pPr marL="0" indent="0">
              <a:buNone/>
            </a:pPr>
            <a:endParaRPr lang="fr-FR" sz="1300" b="1" u="sng" dirty="0">
              <a:effectLst/>
              <a:latin typeface="Verdana" panose="020B0604030504040204" pitchFamily="34" charset="0"/>
              <a:cs typeface="Times New Roman" panose="02020603050405020304" pitchFamily="18" charset="0"/>
            </a:endParaRPr>
          </a:p>
          <a:p>
            <a:pPr marL="0" indent="0">
              <a:buNone/>
            </a:pPr>
            <a:r>
              <a:rPr lang="fr-FR" sz="2400" b="1" u="sng" dirty="0">
                <a:latin typeface="Verdana" panose="020B0604030504040204" pitchFamily="34" charset="0"/>
                <a:cs typeface="Times New Roman" panose="02020603050405020304" pitchFamily="18" charset="0"/>
              </a:rPr>
              <a:t>Méthode pour enregistrer une opération</a:t>
            </a:r>
          </a:p>
          <a:p>
            <a:pPr marL="0" indent="0">
              <a:buNone/>
            </a:pPr>
            <a:endParaRPr lang="fr-FR" sz="2400" b="1" u="sng" dirty="0">
              <a:effectLst/>
              <a:latin typeface="Verdana" panose="020B0604030504040204" pitchFamily="34" charset="0"/>
            </a:endParaRPr>
          </a:p>
          <a:p>
            <a:pPr algn="just"/>
            <a:r>
              <a:rPr lang="fr-FR" sz="1800" b="1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		- 1</a:t>
            </a:r>
            <a:r>
              <a:rPr lang="fr-FR" sz="1800" b="1" baseline="300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ère</a:t>
            </a:r>
            <a:r>
              <a:rPr lang="fr-FR" sz="1800" b="1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étape</a:t>
            </a:r>
            <a:r>
              <a:rPr lang="fr-FR" sz="18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.</a:t>
            </a:r>
          </a:p>
          <a:p>
            <a:pPr algn="just"/>
            <a:r>
              <a:rPr lang="fr-FR" sz="18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Identifier les comptes concernés par le flux</a:t>
            </a:r>
          </a:p>
          <a:p>
            <a:pPr algn="just"/>
            <a:r>
              <a:rPr lang="fr-FR" sz="18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 </a:t>
            </a:r>
          </a:p>
          <a:p>
            <a:pPr algn="just"/>
            <a:r>
              <a:rPr lang="fr-FR" sz="18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		- </a:t>
            </a:r>
            <a:r>
              <a:rPr lang="fr-FR" sz="1800" b="1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2</a:t>
            </a:r>
            <a:r>
              <a:rPr lang="fr-FR" sz="1800" b="1" baseline="300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ème</a:t>
            </a:r>
            <a:r>
              <a:rPr lang="fr-FR" sz="1800" b="1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étape.</a:t>
            </a:r>
            <a:r>
              <a:rPr lang="fr-FR" sz="18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</a:p>
          <a:p>
            <a:pPr algn="just"/>
            <a:r>
              <a:rPr lang="fr-FR" sz="18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Se poser la question pour chaque compte trouvé : augmente-t-il ou diminue-t-il dans le contexte présenté ?</a:t>
            </a:r>
          </a:p>
          <a:p>
            <a:pPr algn="just"/>
            <a:r>
              <a:rPr lang="fr-FR" sz="18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 </a:t>
            </a:r>
          </a:p>
          <a:p>
            <a:endParaRPr lang="fr-FR" sz="1300" dirty="0"/>
          </a:p>
        </p:txBody>
      </p:sp>
    </p:spTree>
    <p:extLst>
      <p:ext uri="{BB962C8B-B14F-4D97-AF65-F5344CB8AC3E}">
        <p14:creationId xmlns:p14="http://schemas.microsoft.com/office/powerpoint/2010/main" val="564049889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AEFCB68E-E041-4E46-A233-3C2208DA32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53363" y="365760"/>
            <a:ext cx="9367203" cy="1188720"/>
          </a:xfrm>
        </p:spPr>
        <p:txBody>
          <a:bodyPr>
            <a:normAutofit/>
          </a:bodyPr>
          <a:lstStyle/>
          <a:p>
            <a:r>
              <a:rPr lang="fr-FR" dirty="0"/>
              <a:t>Comptabilisation - Méthode</a:t>
            </a:r>
          </a:p>
        </p:txBody>
      </p:sp>
      <p:sp>
        <p:nvSpPr>
          <p:cNvPr id="8" name="Freeform: Shape 7">
            <a:extLst>
              <a:ext uri="{FF2B5EF4-FFF2-40B4-BE49-F238E27FC236}">
                <a16:creationId xmlns:a16="http://schemas.microsoft.com/office/drawing/2014/main" id="{7CB4857B-ED7C-444D-9F04-2F885114A1C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" y="0"/>
            <a:ext cx="1764099" cy="1558212"/>
          </a:xfrm>
          <a:custGeom>
            <a:avLst/>
            <a:gdLst>
              <a:gd name="connsiteX0" fmla="*/ 0 w 1764099"/>
              <a:gd name="connsiteY0" fmla="*/ 0 h 1558212"/>
              <a:gd name="connsiteX1" fmla="*/ 1764099 w 1764099"/>
              <a:gd name="connsiteY1" fmla="*/ 0 h 1558212"/>
              <a:gd name="connsiteX2" fmla="*/ 1042087 w 1764099"/>
              <a:gd name="connsiteY2" fmla="*/ 1558212 h 1558212"/>
              <a:gd name="connsiteX3" fmla="*/ 0 w 1764099"/>
              <a:gd name="connsiteY3" fmla="*/ 1558212 h 15582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764099" h="1558212">
                <a:moveTo>
                  <a:pt x="0" y="0"/>
                </a:moveTo>
                <a:lnTo>
                  <a:pt x="1764099" y="0"/>
                </a:lnTo>
                <a:lnTo>
                  <a:pt x="1042087" y="1558212"/>
                </a:lnTo>
                <a:lnTo>
                  <a:pt x="0" y="1558212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D18046FB-44EA-4FD8-A585-EA09A319B2D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" y="1691640"/>
            <a:ext cx="12191999" cy="5166360"/>
          </a:xfrm>
          <a:custGeom>
            <a:avLst/>
            <a:gdLst>
              <a:gd name="connsiteX0" fmla="*/ 0 w 12191999"/>
              <a:gd name="connsiteY0" fmla="*/ 0 h 5166360"/>
              <a:gd name="connsiteX1" fmla="*/ 1822388 w 12191999"/>
              <a:gd name="connsiteY1" fmla="*/ 0 h 5166360"/>
              <a:gd name="connsiteX2" fmla="*/ 6468290 w 12191999"/>
              <a:gd name="connsiteY2" fmla="*/ 0 h 5166360"/>
              <a:gd name="connsiteX3" fmla="*/ 7796394 w 12191999"/>
              <a:gd name="connsiteY3" fmla="*/ 0 h 5166360"/>
              <a:gd name="connsiteX4" fmla="*/ 8376834 w 12191999"/>
              <a:gd name="connsiteY4" fmla="*/ 0 h 5166360"/>
              <a:gd name="connsiteX5" fmla="*/ 9704938 w 12191999"/>
              <a:gd name="connsiteY5" fmla="*/ 0 h 5166360"/>
              <a:gd name="connsiteX6" fmla="*/ 9704938 w 12191999"/>
              <a:gd name="connsiteY6" fmla="*/ 2 h 5166360"/>
              <a:gd name="connsiteX7" fmla="*/ 10283456 w 12191999"/>
              <a:gd name="connsiteY7" fmla="*/ 2 h 5166360"/>
              <a:gd name="connsiteX8" fmla="*/ 10863897 w 12191999"/>
              <a:gd name="connsiteY8" fmla="*/ 2 h 5166360"/>
              <a:gd name="connsiteX9" fmla="*/ 12191999 w 12191999"/>
              <a:gd name="connsiteY9" fmla="*/ 2 h 5166360"/>
              <a:gd name="connsiteX10" fmla="*/ 12191999 w 12191999"/>
              <a:gd name="connsiteY10" fmla="*/ 5166360 h 5166360"/>
              <a:gd name="connsiteX11" fmla="*/ 0 w 12191999"/>
              <a:gd name="connsiteY11" fmla="*/ 5166360 h 5166360"/>
              <a:gd name="connsiteX12" fmla="*/ 0 w 12191999"/>
              <a:gd name="connsiteY12" fmla="*/ 2604436 h 5166360"/>
              <a:gd name="connsiteX13" fmla="*/ 862341 w 12191999"/>
              <a:gd name="connsiteY13" fmla="*/ 743371 h 5166360"/>
              <a:gd name="connsiteX14" fmla="*/ 0 w 12191999"/>
              <a:gd name="connsiteY14" fmla="*/ 743371 h 5166360"/>
              <a:gd name="connsiteX15" fmla="*/ 0 w 12191999"/>
              <a:gd name="connsiteY15" fmla="*/ 742508 h 5166360"/>
              <a:gd name="connsiteX16" fmla="*/ 92826 w 12191999"/>
              <a:gd name="connsiteY16" fmla="*/ 742508 h 5166360"/>
              <a:gd name="connsiteX17" fmla="*/ 406486 w 12191999"/>
              <a:gd name="connsiteY17" fmla="*/ 742508 h 5166360"/>
              <a:gd name="connsiteX18" fmla="*/ 406486 w 12191999"/>
              <a:gd name="connsiteY18" fmla="*/ 742507 h 5166360"/>
              <a:gd name="connsiteX19" fmla="*/ 862741 w 12191999"/>
              <a:gd name="connsiteY19" fmla="*/ 742507 h 5166360"/>
              <a:gd name="connsiteX20" fmla="*/ 1206388 w 12191999"/>
              <a:gd name="connsiteY20" fmla="*/ 864 h 5166360"/>
              <a:gd name="connsiteX21" fmla="*/ 748500 w 12191999"/>
              <a:gd name="connsiteY21" fmla="*/ 864 h 5166360"/>
              <a:gd name="connsiteX22" fmla="*/ 0 w 12191999"/>
              <a:gd name="connsiteY22" fmla="*/ 864 h 51663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12191999" h="5166360">
                <a:moveTo>
                  <a:pt x="0" y="0"/>
                </a:moveTo>
                <a:lnTo>
                  <a:pt x="1822388" y="0"/>
                </a:lnTo>
                <a:lnTo>
                  <a:pt x="6468290" y="0"/>
                </a:lnTo>
                <a:lnTo>
                  <a:pt x="7796394" y="0"/>
                </a:lnTo>
                <a:lnTo>
                  <a:pt x="8376834" y="0"/>
                </a:lnTo>
                <a:lnTo>
                  <a:pt x="9704938" y="0"/>
                </a:lnTo>
                <a:lnTo>
                  <a:pt x="9704938" y="2"/>
                </a:lnTo>
                <a:lnTo>
                  <a:pt x="10283456" y="2"/>
                </a:lnTo>
                <a:lnTo>
                  <a:pt x="10863897" y="2"/>
                </a:lnTo>
                <a:lnTo>
                  <a:pt x="12191999" y="2"/>
                </a:lnTo>
                <a:lnTo>
                  <a:pt x="12191999" y="5166360"/>
                </a:lnTo>
                <a:lnTo>
                  <a:pt x="0" y="5166360"/>
                </a:lnTo>
                <a:lnTo>
                  <a:pt x="0" y="2604436"/>
                </a:lnTo>
                <a:lnTo>
                  <a:pt x="862341" y="743371"/>
                </a:lnTo>
                <a:lnTo>
                  <a:pt x="0" y="743371"/>
                </a:lnTo>
                <a:lnTo>
                  <a:pt x="0" y="742508"/>
                </a:lnTo>
                <a:lnTo>
                  <a:pt x="92826" y="742508"/>
                </a:lnTo>
                <a:lnTo>
                  <a:pt x="406486" y="742508"/>
                </a:lnTo>
                <a:lnTo>
                  <a:pt x="406486" y="742507"/>
                </a:lnTo>
                <a:lnTo>
                  <a:pt x="862741" y="742507"/>
                </a:lnTo>
                <a:lnTo>
                  <a:pt x="1206388" y="864"/>
                </a:lnTo>
                <a:lnTo>
                  <a:pt x="748500" y="864"/>
                </a:lnTo>
                <a:lnTo>
                  <a:pt x="0" y="864"/>
                </a:lnTo>
                <a:close/>
              </a:path>
            </a:pathLst>
          </a:custGeom>
          <a:solidFill>
            <a:srgbClr val="A6A6A6">
              <a:alpha val="4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479F5F2B-8B58-4140-AE6A-51F6C67B18D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1691641"/>
            <a:ext cx="971654" cy="2096979"/>
          </a:xfrm>
          <a:custGeom>
            <a:avLst/>
            <a:gdLst>
              <a:gd name="connsiteX0" fmla="*/ 0 w 971654"/>
              <a:gd name="connsiteY0" fmla="*/ 0 h 2096979"/>
              <a:gd name="connsiteX1" fmla="*/ 971654 w 971654"/>
              <a:gd name="connsiteY1" fmla="*/ 0 h 2096979"/>
              <a:gd name="connsiteX2" fmla="*/ 0 w 971654"/>
              <a:gd name="connsiteY2" fmla="*/ 2096979 h 20969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971654" h="2096979">
                <a:moveTo>
                  <a:pt x="0" y="0"/>
                </a:moveTo>
                <a:lnTo>
                  <a:pt x="971654" y="0"/>
                </a:lnTo>
                <a:lnTo>
                  <a:pt x="0" y="2096979"/>
                </a:lnTo>
                <a:close/>
              </a:path>
            </a:pathLst>
          </a:custGeom>
          <a:solidFill>
            <a:srgbClr val="40404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9FA71A85-160A-4CFF-9241-BA71D421B86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48070" y="1920240"/>
            <a:ext cx="11408095" cy="4868186"/>
          </a:xfrm>
        </p:spPr>
        <p:txBody>
          <a:bodyPr anchor="t">
            <a:normAutofit/>
          </a:bodyPr>
          <a:lstStyle/>
          <a:p>
            <a:pPr marL="0" indent="0">
              <a:buNone/>
            </a:pPr>
            <a:r>
              <a:rPr lang="fr-FR" sz="13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 </a:t>
            </a:r>
          </a:p>
          <a:p>
            <a:pPr marL="0" indent="0">
              <a:buNone/>
            </a:pPr>
            <a:endParaRPr lang="fr-FR" sz="1300" b="1" u="sng" dirty="0">
              <a:latin typeface="Verdana" panose="020B0604030504040204" pitchFamily="34" charset="0"/>
              <a:cs typeface="Times New Roman" panose="02020603050405020304" pitchFamily="18" charset="0"/>
            </a:endParaRPr>
          </a:p>
          <a:p>
            <a:pPr marL="0" indent="0">
              <a:buNone/>
            </a:pPr>
            <a:endParaRPr lang="fr-FR" sz="1300" b="1" u="sng" dirty="0">
              <a:effectLst/>
              <a:latin typeface="Verdana" panose="020B0604030504040204" pitchFamily="34" charset="0"/>
              <a:cs typeface="Times New Roman" panose="02020603050405020304" pitchFamily="18" charset="0"/>
            </a:endParaRPr>
          </a:p>
          <a:p>
            <a:pPr marL="0" indent="0">
              <a:buNone/>
            </a:pPr>
            <a:r>
              <a:rPr lang="fr-FR" sz="2400" b="1" u="sng" dirty="0">
                <a:latin typeface="Verdana" panose="020B0604030504040204" pitchFamily="34" charset="0"/>
                <a:cs typeface="Times New Roman" panose="02020603050405020304" pitchFamily="18" charset="0"/>
              </a:rPr>
              <a:t>Méthode pour enregistrer une opération</a:t>
            </a:r>
          </a:p>
          <a:p>
            <a:pPr marL="0" indent="0">
              <a:buNone/>
            </a:pPr>
            <a:endParaRPr lang="fr-FR" sz="2400" b="1" u="sng" dirty="0">
              <a:effectLst/>
              <a:latin typeface="Verdana" panose="020B0604030504040204" pitchFamily="34" charset="0"/>
            </a:endParaRPr>
          </a:p>
          <a:p>
            <a:pPr algn="just"/>
            <a:r>
              <a:rPr lang="fr-FR" sz="1800" b="1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		- 1</a:t>
            </a:r>
            <a:r>
              <a:rPr lang="fr-FR" sz="1800" b="1" baseline="300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ère</a:t>
            </a:r>
            <a:r>
              <a:rPr lang="fr-FR" sz="1800" b="1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étape</a:t>
            </a:r>
            <a:r>
              <a:rPr lang="fr-FR" sz="18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.</a:t>
            </a:r>
          </a:p>
          <a:p>
            <a:pPr algn="just"/>
            <a:r>
              <a:rPr lang="fr-FR" sz="18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Identifier les comptes concernés par le flux</a:t>
            </a:r>
          </a:p>
          <a:p>
            <a:pPr algn="just"/>
            <a:r>
              <a:rPr lang="fr-FR" sz="18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 </a:t>
            </a:r>
          </a:p>
          <a:p>
            <a:pPr algn="just"/>
            <a:r>
              <a:rPr lang="fr-FR" sz="18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		- </a:t>
            </a:r>
            <a:r>
              <a:rPr lang="fr-FR" sz="1800" b="1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2</a:t>
            </a:r>
            <a:r>
              <a:rPr lang="fr-FR" sz="1800" b="1" baseline="300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ème</a:t>
            </a:r>
            <a:r>
              <a:rPr lang="fr-FR" sz="1800" b="1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étape.</a:t>
            </a:r>
            <a:r>
              <a:rPr lang="fr-FR" sz="18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</a:p>
          <a:p>
            <a:pPr algn="just"/>
            <a:r>
              <a:rPr lang="fr-FR" sz="18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Se poser la question pour chaque compte trouvé : augmente-t-il ou diminue-t-il dans le contexte présenté ?</a:t>
            </a:r>
          </a:p>
          <a:p>
            <a:pPr algn="just"/>
            <a:r>
              <a:rPr lang="fr-FR" sz="18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 </a:t>
            </a:r>
          </a:p>
          <a:p>
            <a:endParaRPr lang="fr-FR" sz="1300" dirty="0"/>
          </a:p>
        </p:txBody>
      </p:sp>
    </p:spTree>
    <p:extLst>
      <p:ext uri="{BB962C8B-B14F-4D97-AF65-F5344CB8AC3E}">
        <p14:creationId xmlns:p14="http://schemas.microsoft.com/office/powerpoint/2010/main" val="2500649885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7" name="Rectangle 16">
            <a:extLst>
              <a:ext uri="{FF2B5EF4-FFF2-40B4-BE49-F238E27FC236}">
                <a16:creationId xmlns:a16="http://schemas.microsoft.com/office/drawing/2014/main" id="{100EDD19-6802-4EC3-95CE-CFFAB042CFD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AEFCB68E-E041-4E46-A233-3C2208DA32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</p:spPr>
        <p:txBody>
          <a:bodyPr>
            <a:normAutofit/>
          </a:bodyPr>
          <a:lstStyle/>
          <a:p>
            <a:r>
              <a:rPr lang="fr-FR" sz="5400" dirty="0"/>
              <a:t>Comptabilisation – Cas UP 2</a:t>
            </a:r>
          </a:p>
        </p:txBody>
      </p:sp>
      <p:sp>
        <p:nvSpPr>
          <p:cNvPr id="19" name="sketch line">
            <a:extLst>
              <a:ext uri="{FF2B5EF4-FFF2-40B4-BE49-F238E27FC236}">
                <a16:creationId xmlns:a16="http://schemas.microsoft.com/office/drawing/2014/main" id="{DB17E863-922E-4C26-BD64-E8FD41D2866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669036" y="1677373"/>
            <a:ext cx="10853928" cy="18288"/>
          </a:xfrm>
          <a:custGeom>
            <a:avLst/>
            <a:gdLst>
              <a:gd name="connsiteX0" fmla="*/ 0 w 10853928"/>
              <a:gd name="connsiteY0" fmla="*/ 0 h 18288"/>
              <a:gd name="connsiteX1" fmla="*/ 461292 w 10853928"/>
              <a:gd name="connsiteY1" fmla="*/ 0 h 18288"/>
              <a:gd name="connsiteX2" fmla="*/ 1139662 w 10853928"/>
              <a:gd name="connsiteY2" fmla="*/ 0 h 18288"/>
              <a:gd name="connsiteX3" fmla="*/ 1926572 w 10853928"/>
              <a:gd name="connsiteY3" fmla="*/ 0 h 18288"/>
              <a:gd name="connsiteX4" fmla="*/ 2279325 w 10853928"/>
              <a:gd name="connsiteY4" fmla="*/ 0 h 18288"/>
              <a:gd name="connsiteX5" fmla="*/ 2632078 w 10853928"/>
              <a:gd name="connsiteY5" fmla="*/ 0 h 18288"/>
              <a:gd name="connsiteX6" fmla="*/ 3527527 w 10853928"/>
              <a:gd name="connsiteY6" fmla="*/ 0 h 18288"/>
              <a:gd name="connsiteX7" fmla="*/ 4205897 w 10853928"/>
              <a:gd name="connsiteY7" fmla="*/ 0 h 18288"/>
              <a:gd name="connsiteX8" fmla="*/ 4558650 w 10853928"/>
              <a:gd name="connsiteY8" fmla="*/ 0 h 18288"/>
              <a:gd name="connsiteX9" fmla="*/ 5237020 w 10853928"/>
              <a:gd name="connsiteY9" fmla="*/ 0 h 18288"/>
              <a:gd name="connsiteX10" fmla="*/ 6132469 w 10853928"/>
              <a:gd name="connsiteY10" fmla="*/ 0 h 18288"/>
              <a:gd name="connsiteX11" fmla="*/ 6702301 w 10853928"/>
              <a:gd name="connsiteY11" fmla="*/ 0 h 18288"/>
              <a:gd name="connsiteX12" fmla="*/ 7272132 w 10853928"/>
              <a:gd name="connsiteY12" fmla="*/ 0 h 18288"/>
              <a:gd name="connsiteX13" fmla="*/ 7950502 w 10853928"/>
              <a:gd name="connsiteY13" fmla="*/ 0 h 18288"/>
              <a:gd name="connsiteX14" fmla="*/ 8737412 w 10853928"/>
              <a:gd name="connsiteY14" fmla="*/ 0 h 18288"/>
              <a:gd name="connsiteX15" fmla="*/ 9524322 w 10853928"/>
              <a:gd name="connsiteY15" fmla="*/ 0 h 18288"/>
              <a:gd name="connsiteX16" fmla="*/ 10853928 w 10853928"/>
              <a:gd name="connsiteY16" fmla="*/ 0 h 18288"/>
              <a:gd name="connsiteX17" fmla="*/ 10853928 w 10853928"/>
              <a:gd name="connsiteY17" fmla="*/ 18288 h 18288"/>
              <a:gd name="connsiteX18" fmla="*/ 10392636 w 10853928"/>
              <a:gd name="connsiteY18" fmla="*/ 18288 h 18288"/>
              <a:gd name="connsiteX19" fmla="*/ 9497187 w 10853928"/>
              <a:gd name="connsiteY19" fmla="*/ 18288 h 18288"/>
              <a:gd name="connsiteX20" fmla="*/ 8818817 w 10853928"/>
              <a:gd name="connsiteY20" fmla="*/ 18288 h 18288"/>
              <a:gd name="connsiteX21" fmla="*/ 8466064 w 10853928"/>
              <a:gd name="connsiteY21" fmla="*/ 18288 h 18288"/>
              <a:gd name="connsiteX22" fmla="*/ 7787693 w 10853928"/>
              <a:gd name="connsiteY22" fmla="*/ 18288 h 18288"/>
              <a:gd name="connsiteX23" fmla="*/ 7217862 w 10853928"/>
              <a:gd name="connsiteY23" fmla="*/ 18288 h 18288"/>
              <a:gd name="connsiteX24" fmla="*/ 6648031 w 10853928"/>
              <a:gd name="connsiteY24" fmla="*/ 18288 h 18288"/>
              <a:gd name="connsiteX25" fmla="*/ 6078200 w 10853928"/>
              <a:gd name="connsiteY25" fmla="*/ 18288 h 18288"/>
              <a:gd name="connsiteX26" fmla="*/ 5508368 w 10853928"/>
              <a:gd name="connsiteY26" fmla="*/ 18288 h 18288"/>
              <a:gd name="connsiteX27" fmla="*/ 4721459 w 10853928"/>
              <a:gd name="connsiteY27" fmla="*/ 18288 h 18288"/>
              <a:gd name="connsiteX28" fmla="*/ 4043088 w 10853928"/>
              <a:gd name="connsiteY28" fmla="*/ 18288 h 18288"/>
              <a:gd name="connsiteX29" fmla="*/ 3690336 w 10853928"/>
              <a:gd name="connsiteY29" fmla="*/ 18288 h 18288"/>
              <a:gd name="connsiteX30" fmla="*/ 3120504 w 10853928"/>
              <a:gd name="connsiteY30" fmla="*/ 18288 h 18288"/>
              <a:gd name="connsiteX31" fmla="*/ 2333595 w 10853928"/>
              <a:gd name="connsiteY31" fmla="*/ 18288 h 18288"/>
              <a:gd name="connsiteX32" fmla="*/ 1872303 w 10853928"/>
              <a:gd name="connsiteY32" fmla="*/ 18288 h 18288"/>
              <a:gd name="connsiteX33" fmla="*/ 976854 w 10853928"/>
              <a:gd name="connsiteY33" fmla="*/ 18288 h 18288"/>
              <a:gd name="connsiteX34" fmla="*/ 0 w 10853928"/>
              <a:gd name="connsiteY34" fmla="*/ 18288 h 18288"/>
              <a:gd name="connsiteX35" fmla="*/ 0 w 10853928"/>
              <a:gd name="connsiteY35" fmla="*/ 0 h 182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</a:cxnLst>
            <a:rect l="l" t="t" r="r" b="b"/>
            <a:pathLst>
              <a:path w="10853928" h="18288" fill="none" extrusionOk="0">
                <a:moveTo>
                  <a:pt x="0" y="0"/>
                </a:moveTo>
                <a:cubicBezTo>
                  <a:pt x="146993" y="-19076"/>
                  <a:pt x="347684" y="-4790"/>
                  <a:pt x="461292" y="0"/>
                </a:cubicBezTo>
                <a:cubicBezTo>
                  <a:pt x="574900" y="4790"/>
                  <a:pt x="808367" y="19821"/>
                  <a:pt x="1139662" y="0"/>
                </a:cubicBezTo>
                <a:cubicBezTo>
                  <a:pt x="1470957" y="-19821"/>
                  <a:pt x="1627405" y="5721"/>
                  <a:pt x="1926572" y="0"/>
                </a:cubicBezTo>
                <a:cubicBezTo>
                  <a:pt x="2225739" y="-5721"/>
                  <a:pt x="2137730" y="-3235"/>
                  <a:pt x="2279325" y="0"/>
                </a:cubicBezTo>
                <a:cubicBezTo>
                  <a:pt x="2420920" y="3235"/>
                  <a:pt x="2456518" y="9685"/>
                  <a:pt x="2632078" y="0"/>
                </a:cubicBezTo>
                <a:cubicBezTo>
                  <a:pt x="2807638" y="-9685"/>
                  <a:pt x="3211516" y="-43007"/>
                  <a:pt x="3527527" y="0"/>
                </a:cubicBezTo>
                <a:cubicBezTo>
                  <a:pt x="3843538" y="43007"/>
                  <a:pt x="4058833" y="22042"/>
                  <a:pt x="4205897" y="0"/>
                </a:cubicBezTo>
                <a:cubicBezTo>
                  <a:pt x="4352961" y="-22042"/>
                  <a:pt x="4474805" y="-11846"/>
                  <a:pt x="4558650" y="0"/>
                </a:cubicBezTo>
                <a:cubicBezTo>
                  <a:pt x="4642495" y="11846"/>
                  <a:pt x="5041928" y="-6069"/>
                  <a:pt x="5237020" y="0"/>
                </a:cubicBezTo>
                <a:cubicBezTo>
                  <a:pt x="5432112" y="6069"/>
                  <a:pt x="5943266" y="-17479"/>
                  <a:pt x="6132469" y="0"/>
                </a:cubicBezTo>
                <a:cubicBezTo>
                  <a:pt x="6321672" y="17479"/>
                  <a:pt x="6483872" y="26234"/>
                  <a:pt x="6702301" y="0"/>
                </a:cubicBezTo>
                <a:cubicBezTo>
                  <a:pt x="6920730" y="-26234"/>
                  <a:pt x="6991194" y="-15156"/>
                  <a:pt x="7272132" y="0"/>
                </a:cubicBezTo>
                <a:cubicBezTo>
                  <a:pt x="7553070" y="15156"/>
                  <a:pt x="7684444" y="-32961"/>
                  <a:pt x="7950502" y="0"/>
                </a:cubicBezTo>
                <a:cubicBezTo>
                  <a:pt x="8216560" y="32961"/>
                  <a:pt x="8493290" y="-10491"/>
                  <a:pt x="8737412" y="0"/>
                </a:cubicBezTo>
                <a:cubicBezTo>
                  <a:pt x="8981534" y="10491"/>
                  <a:pt x="9191586" y="-13899"/>
                  <a:pt x="9524322" y="0"/>
                </a:cubicBezTo>
                <a:cubicBezTo>
                  <a:pt x="9857058" y="13899"/>
                  <a:pt x="10297509" y="7485"/>
                  <a:pt x="10853928" y="0"/>
                </a:cubicBezTo>
                <a:cubicBezTo>
                  <a:pt x="10854574" y="4451"/>
                  <a:pt x="10854418" y="9226"/>
                  <a:pt x="10853928" y="18288"/>
                </a:cubicBezTo>
                <a:cubicBezTo>
                  <a:pt x="10691638" y="28522"/>
                  <a:pt x="10574319" y="29578"/>
                  <a:pt x="10392636" y="18288"/>
                </a:cubicBezTo>
                <a:cubicBezTo>
                  <a:pt x="10210953" y="6998"/>
                  <a:pt x="9836277" y="-16742"/>
                  <a:pt x="9497187" y="18288"/>
                </a:cubicBezTo>
                <a:cubicBezTo>
                  <a:pt x="9158097" y="53318"/>
                  <a:pt x="9119479" y="30714"/>
                  <a:pt x="8818817" y="18288"/>
                </a:cubicBezTo>
                <a:cubicBezTo>
                  <a:pt x="8518155" y="5863"/>
                  <a:pt x="8640037" y="6483"/>
                  <a:pt x="8466064" y="18288"/>
                </a:cubicBezTo>
                <a:cubicBezTo>
                  <a:pt x="8292091" y="30093"/>
                  <a:pt x="7997656" y="18914"/>
                  <a:pt x="7787693" y="18288"/>
                </a:cubicBezTo>
                <a:cubicBezTo>
                  <a:pt x="7577730" y="17662"/>
                  <a:pt x="7412468" y="21416"/>
                  <a:pt x="7217862" y="18288"/>
                </a:cubicBezTo>
                <a:cubicBezTo>
                  <a:pt x="7023256" y="15160"/>
                  <a:pt x="6898018" y="14824"/>
                  <a:pt x="6648031" y="18288"/>
                </a:cubicBezTo>
                <a:cubicBezTo>
                  <a:pt x="6398044" y="21752"/>
                  <a:pt x="6254402" y="38625"/>
                  <a:pt x="6078200" y="18288"/>
                </a:cubicBezTo>
                <a:cubicBezTo>
                  <a:pt x="5901998" y="-2049"/>
                  <a:pt x="5622886" y="3213"/>
                  <a:pt x="5508368" y="18288"/>
                </a:cubicBezTo>
                <a:cubicBezTo>
                  <a:pt x="5393850" y="33363"/>
                  <a:pt x="5036260" y="26830"/>
                  <a:pt x="4721459" y="18288"/>
                </a:cubicBezTo>
                <a:cubicBezTo>
                  <a:pt x="4406658" y="9746"/>
                  <a:pt x="4239221" y="41551"/>
                  <a:pt x="4043088" y="18288"/>
                </a:cubicBezTo>
                <a:cubicBezTo>
                  <a:pt x="3846955" y="-4975"/>
                  <a:pt x="3818802" y="34658"/>
                  <a:pt x="3690336" y="18288"/>
                </a:cubicBezTo>
                <a:cubicBezTo>
                  <a:pt x="3561870" y="1918"/>
                  <a:pt x="3265491" y="42194"/>
                  <a:pt x="3120504" y="18288"/>
                </a:cubicBezTo>
                <a:cubicBezTo>
                  <a:pt x="2975517" y="-5618"/>
                  <a:pt x="2720254" y="36673"/>
                  <a:pt x="2333595" y="18288"/>
                </a:cubicBezTo>
                <a:cubicBezTo>
                  <a:pt x="1946936" y="-97"/>
                  <a:pt x="2097241" y="5776"/>
                  <a:pt x="1872303" y="18288"/>
                </a:cubicBezTo>
                <a:cubicBezTo>
                  <a:pt x="1647365" y="30800"/>
                  <a:pt x="1282708" y="45380"/>
                  <a:pt x="976854" y="18288"/>
                </a:cubicBezTo>
                <a:cubicBezTo>
                  <a:pt x="671000" y="-8804"/>
                  <a:pt x="408401" y="-12775"/>
                  <a:pt x="0" y="18288"/>
                </a:cubicBezTo>
                <a:cubicBezTo>
                  <a:pt x="-213" y="9468"/>
                  <a:pt x="187" y="4459"/>
                  <a:pt x="0" y="0"/>
                </a:cubicBezTo>
                <a:close/>
              </a:path>
              <a:path w="10853928" h="18288" stroke="0" extrusionOk="0">
                <a:moveTo>
                  <a:pt x="0" y="0"/>
                </a:moveTo>
                <a:cubicBezTo>
                  <a:pt x="267322" y="15284"/>
                  <a:pt x="415388" y="-21048"/>
                  <a:pt x="569831" y="0"/>
                </a:cubicBezTo>
                <a:cubicBezTo>
                  <a:pt x="724274" y="21048"/>
                  <a:pt x="769333" y="-2353"/>
                  <a:pt x="922584" y="0"/>
                </a:cubicBezTo>
                <a:cubicBezTo>
                  <a:pt x="1075835" y="2353"/>
                  <a:pt x="1399490" y="-145"/>
                  <a:pt x="1818033" y="0"/>
                </a:cubicBezTo>
                <a:cubicBezTo>
                  <a:pt x="2236576" y="145"/>
                  <a:pt x="2145330" y="5482"/>
                  <a:pt x="2387864" y="0"/>
                </a:cubicBezTo>
                <a:cubicBezTo>
                  <a:pt x="2630398" y="-5482"/>
                  <a:pt x="2793207" y="18487"/>
                  <a:pt x="2957695" y="0"/>
                </a:cubicBezTo>
                <a:cubicBezTo>
                  <a:pt x="3122183" y="-18487"/>
                  <a:pt x="3579141" y="19003"/>
                  <a:pt x="3853144" y="0"/>
                </a:cubicBezTo>
                <a:cubicBezTo>
                  <a:pt x="4127147" y="-19003"/>
                  <a:pt x="4209857" y="12211"/>
                  <a:pt x="4314436" y="0"/>
                </a:cubicBezTo>
                <a:cubicBezTo>
                  <a:pt x="4419015" y="-12211"/>
                  <a:pt x="4762459" y="-17220"/>
                  <a:pt x="5209885" y="0"/>
                </a:cubicBezTo>
                <a:cubicBezTo>
                  <a:pt x="5657311" y="17220"/>
                  <a:pt x="5692663" y="-3290"/>
                  <a:pt x="6105335" y="0"/>
                </a:cubicBezTo>
                <a:cubicBezTo>
                  <a:pt x="6518007" y="3290"/>
                  <a:pt x="6455516" y="-5124"/>
                  <a:pt x="6783705" y="0"/>
                </a:cubicBezTo>
                <a:cubicBezTo>
                  <a:pt x="7111894" y="5124"/>
                  <a:pt x="7441941" y="-17829"/>
                  <a:pt x="7679154" y="0"/>
                </a:cubicBezTo>
                <a:cubicBezTo>
                  <a:pt x="7916367" y="17829"/>
                  <a:pt x="8102967" y="-24363"/>
                  <a:pt x="8248985" y="0"/>
                </a:cubicBezTo>
                <a:cubicBezTo>
                  <a:pt x="8395003" y="24363"/>
                  <a:pt x="8552393" y="25505"/>
                  <a:pt x="8818817" y="0"/>
                </a:cubicBezTo>
                <a:cubicBezTo>
                  <a:pt x="9085241" y="-25505"/>
                  <a:pt x="9411308" y="38000"/>
                  <a:pt x="9605726" y="0"/>
                </a:cubicBezTo>
                <a:cubicBezTo>
                  <a:pt x="9800144" y="-38000"/>
                  <a:pt x="10006468" y="-25741"/>
                  <a:pt x="10175558" y="0"/>
                </a:cubicBezTo>
                <a:cubicBezTo>
                  <a:pt x="10344648" y="25741"/>
                  <a:pt x="10696282" y="695"/>
                  <a:pt x="10853928" y="0"/>
                </a:cubicBezTo>
                <a:cubicBezTo>
                  <a:pt x="10853521" y="8690"/>
                  <a:pt x="10853774" y="14141"/>
                  <a:pt x="10853928" y="18288"/>
                </a:cubicBezTo>
                <a:cubicBezTo>
                  <a:pt x="10608124" y="24255"/>
                  <a:pt x="10343415" y="22307"/>
                  <a:pt x="10067018" y="18288"/>
                </a:cubicBezTo>
                <a:cubicBezTo>
                  <a:pt x="9790621" y="14270"/>
                  <a:pt x="9843266" y="3564"/>
                  <a:pt x="9714266" y="18288"/>
                </a:cubicBezTo>
                <a:cubicBezTo>
                  <a:pt x="9585266" y="33012"/>
                  <a:pt x="9379484" y="1875"/>
                  <a:pt x="9252974" y="18288"/>
                </a:cubicBezTo>
                <a:cubicBezTo>
                  <a:pt x="9126464" y="34701"/>
                  <a:pt x="8580678" y="-4904"/>
                  <a:pt x="8357525" y="18288"/>
                </a:cubicBezTo>
                <a:cubicBezTo>
                  <a:pt x="8134372" y="41480"/>
                  <a:pt x="7903199" y="26458"/>
                  <a:pt x="7679154" y="18288"/>
                </a:cubicBezTo>
                <a:cubicBezTo>
                  <a:pt x="7455109" y="10118"/>
                  <a:pt x="7435944" y="27109"/>
                  <a:pt x="7217862" y="18288"/>
                </a:cubicBezTo>
                <a:cubicBezTo>
                  <a:pt x="6999780" y="9467"/>
                  <a:pt x="6680409" y="18985"/>
                  <a:pt x="6539492" y="18288"/>
                </a:cubicBezTo>
                <a:cubicBezTo>
                  <a:pt x="6398575" y="17592"/>
                  <a:pt x="6312077" y="33018"/>
                  <a:pt x="6186739" y="18288"/>
                </a:cubicBezTo>
                <a:cubicBezTo>
                  <a:pt x="6061401" y="3558"/>
                  <a:pt x="5947033" y="12075"/>
                  <a:pt x="5833986" y="18288"/>
                </a:cubicBezTo>
                <a:cubicBezTo>
                  <a:pt x="5720939" y="24501"/>
                  <a:pt x="5482226" y="8586"/>
                  <a:pt x="5155616" y="18288"/>
                </a:cubicBezTo>
                <a:cubicBezTo>
                  <a:pt x="4829006" y="27991"/>
                  <a:pt x="4841274" y="29316"/>
                  <a:pt x="4694324" y="18288"/>
                </a:cubicBezTo>
                <a:cubicBezTo>
                  <a:pt x="4547374" y="7260"/>
                  <a:pt x="4077675" y="7013"/>
                  <a:pt x="3907414" y="18288"/>
                </a:cubicBezTo>
                <a:cubicBezTo>
                  <a:pt x="3737153" y="29564"/>
                  <a:pt x="3538393" y="21630"/>
                  <a:pt x="3446122" y="18288"/>
                </a:cubicBezTo>
                <a:cubicBezTo>
                  <a:pt x="3353851" y="14946"/>
                  <a:pt x="2990320" y="-8091"/>
                  <a:pt x="2659212" y="18288"/>
                </a:cubicBezTo>
                <a:cubicBezTo>
                  <a:pt x="2328104" y="44667"/>
                  <a:pt x="2427653" y="9607"/>
                  <a:pt x="2306460" y="18288"/>
                </a:cubicBezTo>
                <a:cubicBezTo>
                  <a:pt x="2185267" y="26969"/>
                  <a:pt x="1719763" y="3717"/>
                  <a:pt x="1519550" y="18288"/>
                </a:cubicBezTo>
                <a:cubicBezTo>
                  <a:pt x="1319337" y="32860"/>
                  <a:pt x="1167371" y="17040"/>
                  <a:pt x="1058258" y="18288"/>
                </a:cubicBezTo>
                <a:cubicBezTo>
                  <a:pt x="949145" y="19536"/>
                  <a:pt x="780234" y="31447"/>
                  <a:pt x="705505" y="18288"/>
                </a:cubicBezTo>
                <a:cubicBezTo>
                  <a:pt x="630776" y="5129"/>
                  <a:pt x="215796" y="30056"/>
                  <a:pt x="0" y="18288"/>
                </a:cubicBezTo>
                <a:cubicBezTo>
                  <a:pt x="-53" y="11301"/>
                  <a:pt x="-649" y="7756"/>
                  <a:pt x="0" y="0"/>
                </a:cubicBezTo>
                <a:close/>
              </a:path>
            </a:pathLst>
          </a:custGeom>
          <a:solidFill>
            <a:schemeClr val="accent2"/>
          </a:solidFill>
          <a:ln w="41275" cap="rnd">
            <a:solidFill>
              <a:schemeClr val="accent2"/>
            </a:solidFill>
            <a:round/>
            <a:extLst>
              <a:ext uri="{C807C97D-BFC1-408E-A445-0C87EB9F89A2}">
                <ask:lineSketchStyleProps xmlns:ask="http://schemas.microsoft.com/office/drawing/2018/sketchyshapes" sd="1219033472">
                  <a:prstGeom prst="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9FA71A85-160A-4CFF-9241-BA71D421B86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10392" y="1847088"/>
            <a:ext cx="11711031" cy="4877862"/>
          </a:xfrm>
        </p:spPr>
        <p:txBody>
          <a:bodyPr>
            <a:normAutofit fontScale="47500" lnSpcReduction="20000"/>
          </a:bodyPr>
          <a:lstStyle/>
          <a:p>
            <a:pPr marL="0" indent="0">
              <a:buNone/>
            </a:pPr>
            <a:r>
              <a:rPr lang="fr-FR" sz="15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 </a:t>
            </a:r>
          </a:p>
          <a:p>
            <a:pPr algn="just"/>
            <a:r>
              <a:rPr lang="fr-FR" sz="2200" b="1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Ex 1)</a:t>
            </a:r>
            <a:r>
              <a:rPr lang="fr-FR" sz="22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L’entreprise achète, en réglant par chèque, pour 100 000 € de marchandises.</a:t>
            </a:r>
          </a:p>
          <a:p>
            <a:pPr algn="just"/>
            <a:r>
              <a:rPr lang="fr-FR" sz="22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	- Dans ce cas, le compte achat de marchandises (607) augmente ou diminue ? =&gt; Il </a:t>
            </a:r>
          </a:p>
          <a:p>
            <a:pPr algn="just"/>
            <a:r>
              <a:rPr lang="fr-FR" sz="22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	- Dans ce cas, le compte banque (512) augmente ou diminue ? =&gt; Il</a:t>
            </a:r>
          </a:p>
          <a:p>
            <a:pPr algn="just"/>
            <a:endParaRPr lang="fr-FR" sz="2200" dirty="0">
              <a:effectLst/>
              <a:latin typeface="Verdana" panose="020B060403050404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just"/>
            <a:r>
              <a:rPr lang="fr-FR" sz="2200" b="1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Ex 2)</a:t>
            </a:r>
            <a:r>
              <a:rPr lang="fr-FR" sz="22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L’entreprise achète, à crédit, pour 200 000 € de matières premières.</a:t>
            </a:r>
          </a:p>
          <a:p>
            <a:pPr algn="just"/>
            <a:r>
              <a:rPr lang="fr-FR" sz="2200" b="1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	</a:t>
            </a:r>
            <a:r>
              <a:rPr lang="fr-FR" sz="22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- Dans ce cas, le compte achat de matières 1</a:t>
            </a:r>
            <a:r>
              <a:rPr lang="fr-FR" sz="2200" baseline="300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ères</a:t>
            </a:r>
            <a:r>
              <a:rPr lang="fr-FR" sz="22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(601), augmente ou diminue ? =&gt; Il</a:t>
            </a:r>
          </a:p>
          <a:p>
            <a:pPr algn="just"/>
            <a:r>
              <a:rPr lang="fr-FR" sz="22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	- Dans ce cas, le compte dettes fournisseurs (401), augmente ou diminue ? =&gt; Il</a:t>
            </a:r>
          </a:p>
          <a:p>
            <a:pPr algn="just"/>
            <a:endParaRPr lang="fr-FR" sz="2200" dirty="0">
              <a:effectLst/>
              <a:latin typeface="Verdana" panose="020B060403050404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just"/>
            <a:r>
              <a:rPr lang="fr-FR" sz="2200" b="1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Ex 3) </a:t>
            </a:r>
            <a:r>
              <a:rPr lang="fr-FR" sz="22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L’entreprise perçoit 500 € d'intérêts suite à un placement effectué dans une banque.</a:t>
            </a:r>
          </a:p>
          <a:p>
            <a:pPr algn="just"/>
            <a:r>
              <a:rPr lang="fr-FR" sz="22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	- Dans ce cas, le compte intérêts reçus (76) augmente ou diminue ? =&gt; Il </a:t>
            </a:r>
          </a:p>
          <a:p>
            <a:pPr algn="just"/>
            <a:r>
              <a:rPr lang="fr-FR" sz="22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	- Dans ce cas, le compte banque (512) augmente ou diminue ? =&gt; Il</a:t>
            </a:r>
          </a:p>
          <a:p>
            <a:pPr algn="just"/>
            <a:endParaRPr lang="fr-FR" sz="2200" dirty="0">
              <a:effectLst/>
              <a:latin typeface="Verdana" panose="020B060403050404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just"/>
            <a:r>
              <a:rPr lang="fr-FR" sz="2200" b="1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Ex 4)</a:t>
            </a:r>
            <a:r>
              <a:rPr lang="fr-FR" sz="22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L’entreprise vend des produits finis, à crédit, pour 500 000 €.</a:t>
            </a:r>
          </a:p>
          <a:p>
            <a:pPr algn="just"/>
            <a:r>
              <a:rPr lang="fr-FR" sz="22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	- Dans ce cas, le compte vente de produits finis (701) augmente ou diminue ? =&gt; Il </a:t>
            </a:r>
          </a:p>
          <a:p>
            <a:pPr algn="just"/>
            <a:r>
              <a:rPr lang="fr-FR" sz="22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	- Dans ce cas, le compte clients (411) augmente ou diminue ? =&gt; Il</a:t>
            </a:r>
          </a:p>
          <a:p>
            <a:pPr algn="just"/>
            <a:endParaRPr lang="fr-FR" sz="2200" dirty="0">
              <a:effectLst/>
              <a:latin typeface="Verdana" panose="020B060403050404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just"/>
            <a:r>
              <a:rPr lang="fr-FR" sz="2200" b="1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Ex 5) </a:t>
            </a:r>
            <a:r>
              <a:rPr lang="fr-FR" sz="22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L’entreprise achète un véhicule de transport, au comptant par chèque : 125 000 €.</a:t>
            </a:r>
          </a:p>
          <a:p>
            <a:pPr algn="just"/>
            <a:r>
              <a:rPr lang="fr-FR" sz="22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	- Dans ce cas, le compte achat de matériel de transport (2182) augmente ou diminue ? =&gt; Il </a:t>
            </a:r>
          </a:p>
          <a:p>
            <a:pPr algn="just"/>
            <a:r>
              <a:rPr lang="fr-FR" sz="22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	- Dans ce cas, le compte banque (512) augmente ou diminue ? =&gt; Il</a:t>
            </a:r>
          </a:p>
          <a:p>
            <a:endParaRPr lang="fr-FR" sz="1500" dirty="0"/>
          </a:p>
        </p:txBody>
      </p:sp>
    </p:spTree>
    <p:extLst>
      <p:ext uri="{BB962C8B-B14F-4D97-AF65-F5344CB8AC3E}">
        <p14:creationId xmlns:p14="http://schemas.microsoft.com/office/powerpoint/2010/main" val="2772397083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7" name="Rectangle 16">
            <a:extLst>
              <a:ext uri="{FF2B5EF4-FFF2-40B4-BE49-F238E27FC236}">
                <a16:creationId xmlns:a16="http://schemas.microsoft.com/office/drawing/2014/main" id="{100EDD19-6802-4EC3-95CE-CFFAB042CFD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AEFCB68E-E041-4E46-A233-3C2208DA32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</p:spPr>
        <p:txBody>
          <a:bodyPr>
            <a:normAutofit/>
          </a:bodyPr>
          <a:lstStyle/>
          <a:p>
            <a:r>
              <a:rPr lang="fr-FR" sz="5400" dirty="0"/>
              <a:t>Comptabilisation – Correction UP2 </a:t>
            </a:r>
          </a:p>
        </p:txBody>
      </p:sp>
      <p:sp>
        <p:nvSpPr>
          <p:cNvPr id="19" name="sketch line">
            <a:extLst>
              <a:ext uri="{FF2B5EF4-FFF2-40B4-BE49-F238E27FC236}">
                <a16:creationId xmlns:a16="http://schemas.microsoft.com/office/drawing/2014/main" id="{DB17E863-922E-4C26-BD64-E8FD41D2866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669036" y="1677373"/>
            <a:ext cx="10853928" cy="18288"/>
          </a:xfrm>
          <a:custGeom>
            <a:avLst/>
            <a:gdLst>
              <a:gd name="connsiteX0" fmla="*/ 0 w 10853928"/>
              <a:gd name="connsiteY0" fmla="*/ 0 h 18288"/>
              <a:gd name="connsiteX1" fmla="*/ 461292 w 10853928"/>
              <a:gd name="connsiteY1" fmla="*/ 0 h 18288"/>
              <a:gd name="connsiteX2" fmla="*/ 1139662 w 10853928"/>
              <a:gd name="connsiteY2" fmla="*/ 0 h 18288"/>
              <a:gd name="connsiteX3" fmla="*/ 1926572 w 10853928"/>
              <a:gd name="connsiteY3" fmla="*/ 0 h 18288"/>
              <a:gd name="connsiteX4" fmla="*/ 2279325 w 10853928"/>
              <a:gd name="connsiteY4" fmla="*/ 0 h 18288"/>
              <a:gd name="connsiteX5" fmla="*/ 2632078 w 10853928"/>
              <a:gd name="connsiteY5" fmla="*/ 0 h 18288"/>
              <a:gd name="connsiteX6" fmla="*/ 3527527 w 10853928"/>
              <a:gd name="connsiteY6" fmla="*/ 0 h 18288"/>
              <a:gd name="connsiteX7" fmla="*/ 4205897 w 10853928"/>
              <a:gd name="connsiteY7" fmla="*/ 0 h 18288"/>
              <a:gd name="connsiteX8" fmla="*/ 4558650 w 10853928"/>
              <a:gd name="connsiteY8" fmla="*/ 0 h 18288"/>
              <a:gd name="connsiteX9" fmla="*/ 5237020 w 10853928"/>
              <a:gd name="connsiteY9" fmla="*/ 0 h 18288"/>
              <a:gd name="connsiteX10" fmla="*/ 6132469 w 10853928"/>
              <a:gd name="connsiteY10" fmla="*/ 0 h 18288"/>
              <a:gd name="connsiteX11" fmla="*/ 6702301 w 10853928"/>
              <a:gd name="connsiteY11" fmla="*/ 0 h 18288"/>
              <a:gd name="connsiteX12" fmla="*/ 7272132 w 10853928"/>
              <a:gd name="connsiteY12" fmla="*/ 0 h 18288"/>
              <a:gd name="connsiteX13" fmla="*/ 7950502 w 10853928"/>
              <a:gd name="connsiteY13" fmla="*/ 0 h 18288"/>
              <a:gd name="connsiteX14" fmla="*/ 8737412 w 10853928"/>
              <a:gd name="connsiteY14" fmla="*/ 0 h 18288"/>
              <a:gd name="connsiteX15" fmla="*/ 9524322 w 10853928"/>
              <a:gd name="connsiteY15" fmla="*/ 0 h 18288"/>
              <a:gd name="connsiteX16" fmla="*/ 10853928 w 10853928"/>
              <a:gd name="connsiteY16" fmla="*/ 0 h 18288"/>
              <a:gd name="connsiteX17" fmla="*/ 10853928 w 10853928"/>
              <a:gd name="connsiteY17" fmla="*/ 18288 h 18288"/>
              <a:gd name="connsiteX18" fmla="*/ 10392636 w 10853928"/>
              <a:gd name="connsiteY18" fmla="*/ 18288 h 18288"/>
              <a:gd name="connsiteX19" fmla="*/ 9497187 w 10853928"/>
              <a:gd name="connsiteY19" fmla="*/ 18288 h 18288"/>
              <a:gd name="connsiteX20" fmla="*/ 8818817 w 10853928"/>
              <a:gd name="connsiteY20" fmla="*/ 18288 h 18288"/>
              <a:gd name="connsiteX21" fmla="*/ 8466064 w 10853928"/>
              <a:gd name="connsiteY21" fmla="*/ 18288 h 18288"/>
              <a:gd name="connsiteX22" fmla="*/ 7787693 w 10853928"/>
              <a:gd name="connsiteY22" fmla="*/ 18288 h 18288"/>
              <a:gd name="connsiteX23" fmla="*/ 7217862 w 10853928"/>
              <a:gd name="connsiteY23" fmla="*/ 18288 h 18288"/>
              <a:gd name="connsiteX24" fmla="*/ 6648031 w 10853928"/>
              <a:gd name="connsiteY24" fmla="*/ 18288 h 18288"/>
              <a:gd name="connsiteX25" fmla="*/ 6078200 w 10853928"/>
              <a:gd name="connsiteY25" fmla="*/ 18288 h 18288"/>
              <a:gd name="connsiteX26" fmla="*/ 5508368 w 10853928"/>
              <a:gd name="connsiteY26" fmla="*/ 18288 h 18288"/>
              <a:gd name="connsiteX27" fmla="*/ 4721459 w 10853928"/>
              <a:gd name="connsiteY27" fmla="*/ 18288 h 18288"/>
              <a:gd name="connsiteX28" fmla="*/ 4043088 w 10853928"/>
              <a:gd name="connsiteY28" fmla="*/ 18288 h 18288"/>
              <a:gd name="connsiteX29" fmla="*/ 3690336 w 10853928"/>
              <a:gd name="connsiteY29" fmla="*/ 18288 h 18288"/>
              <a:gd name="connsiteX30" fmla="*/ 3120504 w 10853928"/>
              <a:gd name="connsiteY30" fmla="*/ 18288 h 18288"/>
              <a:gd name="connsiteX31" fmla="*/ 2333595 w 10853928"/>
              <a:gd name="connsiteY31" fmla="*/ 18288 h 18288"/>
              <a:gd name="connsiteX32" fmla="*/ 1872303 w 10853928"/>
              <a:gd name="connsiteY32" fmla="*/ 18288 h 18288"/>
              <a:gd name="connsiteX33" fmla="*/ 976854 w 10853928"/>
              <a:gd name="connsiteY33" fmla="*/ 18288 h 18288"/>
              <a:gd name="connsiteX34" fmla="*/ 0 w 10853928"/>
              <a:gd name="connsiteY34" fmla="*/ 18288 h 18288"/>
              <a:gd name="connsiteX35" fmla="*/ 0 w 10853928"/>
              <a:gd name="connsiteY35" fmla="*/ 0 h 182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</a:cxnLst>
            <a:rect l="l" t="t" r="r" b="b"/>
            <a:pathLst>
              <a:path w="10853928" h="18288" fill="none" extrusionOk="0">
                <a:moveTo>
                  <a:pt x="0" y="0"/>
                </a:moveTo>
                <a:cubicBezTo>
                  <a:pt x="146993" y="-19076"/>
                  <a:pt x="347684" y="-4790"/>
                  <a:pt x="461292" y="0"/>
                </a:cubicBezTo>
                <a:cubicBezTo>
                  <a:pt x="574900" y="4790"/>
                  <a:pt x="808367" y="19821"/>
                  <a:pt x="1139662" y="0"/>
                </a:cubicBezTo>
                <a:cubicBezTo>
                  <a:pt x="1470957" y="-19821"/>
                  <a:pt x="1627405" y="5721"/>
                  <a:pt x="1926572" y="0"/>
                </a:cubicBezTo>
                <a:cubicBezTo>
                  <a:pt x="2225739" y="-5721"/>
                  <a:pt x="2137730" y="-3235"/>
                  <a:pt x="2279325" y="0"/>
                </a:cubicBezTo>
                <a:cubicBezTo>
                  <a:pt x="2420920" y="3235"/>
                  <a:pt x="2456518" y="9685"/>
                  <a:pt x="2632078" y="0"/>
                </a:cubicBezTo>
                <a:cubicBezTo>
                  <a:pt x="2807638" y="-9685"/>
                  <a:pt x="3211516" y="-43007"/>
                  <a:pt x="3527527" y="0"/>
                </a:cubicBezTo>
                <a:cubicBezTo>
                  <a:pt x="3843538" y="43007"/>
                  <a:pt x="4058833" y="22042"/>
                  <a:pt x="4205897" y="0"/>
                </a:cubicBezTo>
                <a:cubicBezTo>
                  <a:pt x="4352961" y="-22042"/>
                  <a:pt x="4474805" y="-11846"/>
                  <a:pt x="4558650" y="0"/>
                </a:cubicBezTo>
                <a:cubicBezTo>
                  <a:pt x="4642495" y="11846"/>
                  <a:pt x="5041928" y="-6069"/>
                  <a:pt x="5237020" y="0"/>
                </a:cubicBezTo>
                <a:cubicBezTo>
                  <a:pt x="5432112" y="6069"/>
                  <a:pt x="5943266" y="-17479"/>
                  <a:pt x="6132469" y="0"/>
                </a:cubicBezTo>
                <a:cubicBezTo>
                  <a:pt x="6321672" y="17479"/>
                  <a:pt x="6483872" y="26234"/>
                  <a:pt x="6702301" y="0"/>
                </a:cubicBezTo>
                <a:cubicBezTo>
                  <a:pt x="6920730" y="-26234"/>
                  <a:pt x="6991194" y="-15156"/>
                  <a:pt x="7272132" y="0"/>
                </a:cubicBezTo>
                <a:cubicBezTo>
                  <a:pt x="7553070" y="15156"/>
                  <a:pt x="7684444" y="-32961"/>
                  <a:pt x="7950502" y="0"/>
                </a:cubicBezTo>
                <a:cubicBezTo>
                  <a:pt x="8216560" y="32961"/>
                  <a:pt x="8493290" y="-10491"/>
                  <a:pt x="8737412" y="0"/>
                </a:cubicBezTo>
                <a:cubicBezTo>
                  <a:pt x="8981534" y="10491"/>
                  <a:pt x="9191586" y="-13899"/>
                  <a:pt x="9524322" y="0"/>
                </a:cubicBezTo>
                <a:cubicBezTo>
                  <a:pt x="9857058" y="13899"/>
                  <a:pt x="10297509" y="7485"/>
                  <a:pt x="10853928" y="0"/>
                </a:cubicBezTo>
                <a:cubicBezTo>
                  <a:pt x="10854574" y="4451"/>
                  <a:pt x="10854418" y="9226"/>
                  <a:pt x="10853928" y="18288"/>
                </a:cubicBezTo>
                <a:cubicBezTo>
                  <a:pt x="10691638" y="28522"/>
                  <a:pt x="10574319" y="29578"/>
                  <a:pt x="10392636" y="18288"/>
                </a:cubicBezTo>
                <a:cubicBezTo>
                  <a:pt x="10210953" y="6998"/>
                  <a:pt x="9836277" y="-16742"/>
                  <a:pt x="9497187" y="18288"/>
                </a:cubicBezTo>
                <a:cubicBezTo>
                  <a:pt x="9158097" y="53318"/>
                  <a:pt x="9119479" y="30714"/>
                  <a:pt x="8818817" y="18288"/>
                </a:cubicBezTo>
                <a:cubicBezTo>
                  <a:pt x="8518155" y="5863"/>
                  <a:pt x="8640037" y="6483"/>
                  <a:pt x="8466064" y="18288"/>
                </a:cubicBezTo>
                <a:cubicBezTo>
                  <a:pt x="8292091" y="30093"/>
                  <a:pt x="7997656" y="18914"/>
                  <a:pt x="7787693" y="18288"/>
                </a:cubicBezTo>
                <a:cubicBezTo>
                  <a:pt x="7577730" y="17662"/>
                  <a:pt x="7412468" y="21416"/>
                  <a:pt x="7217862" y="18288"/>
                </a:cubicBezTo>
                <a:cubicBezTo>
                  <a:pt x="7023256" y="15160"/>
                  <a:pt x="6898018" y="14824"/>
                  <a:pt x="6648031" y="18288"/>
                </a:cubicBezTo>
                <a:cubicBezTo>
                  <a:pt x="6398044" y="21752"/>
                  <a:pt x="6254402" y="38625"/>
                  <a:pt x="6078200" y="18288"/>
                </a:cubicBezTo>
                <a:cubicBezTo>
                  <a:pt x="5901998" y="-2049"/>
                  <a:pt x="5622886" y="3213"/>
                  <a:pt x="5508368" y="18288"/>
                </a:cubicBezTo>
                <a:cubicBezTo>
                  <a:pt x="5393850" y="33363"/>
                  <a:pt x="5036260" y="26830"/>
                  <a:pt x="4721459" y="18288"/>
                </a:cubicBezTo>
                <a:cubicBezTo>
                  <a:pt x="4406658" y="9746"/>
                  <a:pt x="4239221" y="41551"/>
                  <a:pt x="4043088" y="18288"/>
                </a:cubicBezTo>
                <a:cubicBezTo>
                  <a:pt x="3846955" y="-4975"/>
                  <a:pt x="3818802" y="34658"/>
                  <a:pt x="3690336" y="18288"/>
                </a:cubicBezTo>
                <a:cubicBezTo>
                  <a:pt x="3561870" y="1918"/>
                  <a:pt x="3265491" y="42194"/>
                  <a:pt x="3120504" y="18288"/>
                </a:cubicBezTo>
                <a:cubicBezTo>
                  <a:pt x="2975517" y="-5618"/>
                  <a:pt x="2720254" y="36673"/>
                  <a:pt x="2333595" y="18288"/>
                </a:cubicBezTo>
                <a:cubicBezTo>
                  <a:pt x="1946936" y="-97"/>
                  <a:pt x="2097241" y="5776"/>
                  <a:pt x="1872303" y="18288"/>
                </a:cubicBezTo>
                <a:cubicBezTo>
                  <a:pt x="1647365" y="30800"/>
                  <a:pt x="1282708" y="45380"/>
                  <a:pt x="976854" y="18288"/>
                </a:cubicBezTo>
                <a:cubicBezTo>
                  <a:pt x="671000" y="-8804"/>
                  <a:pt x="408401" y="-12775"/>
                  <a:pt x="0" y="18288"/>
                </a:cubicBezTo>
                <a:cubicBezTo>
                  <a:pt x="-213" y="9468"/>
                  <a:pt x="187" y="4459"/>
                  <a:pt x="0" y="0"/>
                </a:cubicBezTo>
                <a:close/>
              </a:path>
              <a:path w="10853928" h="18288" stroke="0" extrusionOk="0">
                <a:moveTo>
                  <a:pt x="0" y="0"/>
                </a:moveTo>
                <a:cubicBezTo>
                  <a:pt x="267322" y="15284"/>
                  <a:pt x="415388" y="-21048"/>
                  <a:pt x="569831" y="0"/>
                </a:cubicBezTo>
                <a:cubicBezTo>
                  <a:pt x="724274" y="21048"/>
                  <a:pt x="769333" y="-2353"/>
                  <a:pt x="922584" y="0"/>
                </a:cubicBezTo>
                <a:cubicBezTo>
                  <a:pt x="1075835" y="2353"/>
                  <a:pt x="1399490" y="-145"/>
                  <a:pt x="1818033" y="0"/>
                </a:cubicBezTo>
                <a:cubicBezTo>
                  <a:pt x="2236576" y="145"/>
                  <a:pt x="2145330" y="5482"/>
                  <a:pt x="2387864" y="0"/>
                </a:cubicBezTo>
                <a:cubicBezTo>
                  <a:pt x="2630398" y="-5482"/>
                  <a:pt x="2793207" y="18487"/>
                  <a:pt x="2957695" y="0"/>
                </a:cubicBezTo>
                <a:cubicBezTo>
                  <a:pt x="3122183" y="-18487"/>
                  <a:pt x="3579141" y="19003"/>
                  <a:pt x="3853144" y="0"/>
                </a:cubicBezTo>
                <a:cubicBezTo>
                  <a:pt x="4127147" y="-19003"/>
                  <a:pt x="4209857" y="12211"/>
                  <a:pt x="4314436" y="0"/>
                </a:cubicBezTo>
                <a:cubicBezTo>
                  <a:pt x="4419015" y="-12211"/>
                  <a:pt x="4762459" y="-17220"/>
                  <a:pt x="5209885" y="0"/>
                </a:cubicBezTo>
                <a:cubicBezTo>
                  <a:pt x="5657311" y="17220"/>
                  <a:pt x="5692663" y="-3290"/>
                  <a:pt x="6105335" y="0"/>
                </a:cubicBezTo>
                <a:cubicBezTo>
                  <a:pt x="6518007" y="3290"/>
                  <a:pt x="6455516" y="-5124"/>
                  <a:pt x="6783705" y="0"/>
                </a:cubicBezTo>
                <a:cubicBezTo>
                  <a:pt x="7111894" y="5124"/>
                  <a:pt x="7441941" y="-17829"/>
                  <a:pt x="7679154" y="0"/>
                </a:cubicBezTo>
                <a:cubicBezTo>
                  <a:pt x="7916367" y="17829"/>
                  <a:pt x="8102967" y="-24363"/>
                  <a:pt x="8248985" y="0"/>
                </a:cubicBezTo>
                <a:cubicBezTo>
                  <a:pt x="8395003" y="24363"/>
                  <a:pt x="8552393" y="25505"/>
                  <a:pt x="8818817" y="0"/>
                </a:cubicBezTo>
                <a:cubicBezTo>
                  <a:pt x="9085241" y="-25505"/>
                  <a:pt x="9411308" y="38000"/>
                  <a:pt x="9605726" y="0"/>
                </a:cubicBezTo>
                <a:cubicBezTo>
                  <a:pt x="9800144" y="-38000"/>
                  <a:pt x="10006468" y="-25741"/>
                  <a:pt x="10175558" y="0"/>
                </a:cubicBezTo>
                <a:cubicBezTo>
                  <a:pt x="10344648" y="25741"/>
                  <a:pt x="10696282" y="695"/>
                  <a:pt x="10853928" y="0"/>
                </a:cubicBezTo>
                <a:cubicBezTo>
                  <a:pt x="10853521" y="8690"/>
                  <a:pt x="10853774" y="14141"/>
                  <a:pt x="10853928" y="18288"/>
                </a:cubicBezTo>
                <a:cubicBezTo>
                  <a:pt x="10608124" y="24255"/>
                  <a:pt x="10343415" y="22307"/>
                  <a:pt x="10067018" y="18288"/>
                </a:cubicBezTo>
                <a:cubicBezTo>
                  <a:pt x="9790621" y="14270"/>
                  <a:pt x="9843266" y="3564"/>
                  <a:pt x="9714266" y="18288"/>
                </a:cubicBezTo>
                <a:cubicBezTo>
                  <a:pt x="9585266" y="33012"/>
                  <a:pt x="9379484" y="1875"/>
                  <a:pt x="9252974" y="18288"/>
                </a:cubicBezTo>
                <a:cubicBezTo>
                  <a:pt x="9126464" y="34701"/>
                  <a:pt x="8580678" y="-4904"/>
                  <a:pt x="8357525" y="18288"/>
                </a:cubicBezTo>
                <a:cubicBezTo>
                  <a:pt x="8134372" y="41480"/>
                  <a:pt x="7903199" y="26458"/>
                  <a:pt x="7679154" y="18288"/>
                </a:cubicBezTo>
                <a:cubicBezTo>
                  <a:pt x="7455109" y="10118"/>
                  <a:pt x="7435944" y="27109"/>
                  <a:pt x="7217862" y="18288"/>
                </a:cubicBezTo>
                <a:cubicBezTo>
                  <a:pt x="6999780" y="9467"/>
                  <a:pt x="6680409" y="18985"/>
                  <a:pt x="6539492" y="18288"/>
                </a:cubicBezTo>
                <a:cubicBezTo>
                  <a:pt x="6398575" y="17592"/>
                  <a:pt x="6312077" y="33018"/>
                  <a:pt x="6186739" y="18288"/>
                </a:cubicBezTo>
                <a:cubicBezTo>
                  <a:pt x="6061401" y="3558"/>
                  <a:pt x="5947033" y="12075"/>
                  <a:pt x="5833986" y="18288"/>
                </a:cubicBezTo>
                <a:cubicBezTo>
                  <a:pt x="5720939" y="24501"/>
                  <a:pt x="5482226" y="8586"/>
                  <a:pt x="5155616" y="18288"/>
                </a:cubicBezTo>
                <a:cubicBezTo>
                  <a:pt x="4829006" y="27991"/>
                  <a:pt x="4841274" y="29316"/>
                  <a:pt x="4694324" y="18288"/>
                </a:cubicBezTo>
                <a:cubicBezTo>
                  <a:pt x="4547374" y="7260"/>
                  <a:pt x="4077675" y="7013"/>
                  <a:pt x="3907414" y="18288"/>
                </a:cubicBezTo>
                <a:cubicBezTo>
                  <a:pt x="3737153" y="29564"/>
                  <a:pt x="3538393" y="21630"/>
                  <a:pt x="3446122" y="18288"/>
                </a:cubicBezTo>
                <a:cubicBezTo>
                  <a:pt x="3353851" y="14946"/>
                  <a:pt x="2990320" y="-8091"/>
                  <a:pt x="2659212" y="18288"/>
                </a:cubicBezTo>
                <a:cubicBezTo>
                  <a:pt x="2328104" y="44667"/>
                  <a:pt x="2427653" y="9607"/>
                  <a:pt x="2306460" y="18288"/>
                </a:cubicBezTo>
                <a:cubicBezTo>
                  <a:pt x="2185267" y="26969"/>
                  <a:pt x="1719763" y="3717"/>
                  <a:pt x="1519550" y="18288"/>
                </a:cubicBezTo>
                <a:cubicBezTo>
                  <a:pt x="1319337" y="32860"/>
                  <a:pt x="1167371" y="17040"/>
                  <a:pt x="1058258" y="18288"/>
                </a:cubicBezTo>
                <a:cubicBezTo>
                  <a:pt x="949145" y="19536"/>
                  <a:pt x="780234" y="31447"/>
                  <a:pt x="705505" y="18288"/>
                </a:cubicBezTo>
                <a:cubicBezTo>
                  <a:pt x="630776" y="5129"/>
                  <a:pt x="215796" y="30056"/>
                  <a:pt x="0" y="18288"/>
                </a:cubicBezTo>
                <a:cubicBezTo>
                  <a:pt x="-53" y="11301"/>
                  <a:pt x="-649" y="7756"/>
                  <a:pt x="0" y="0"/>
                </a:cubicBezTo>
                <a:close/>
              </a:path>
            </a:pathLst>
          </a:custGeom>
          <a:solidFill>
            <a:schemeClr val="accent2"/>
          </a:solidFill>
          <a:ln w="41275" cap="rnd">
            <a:solidFill>
              <a:schemeClr val="accent2"/>
            </a:solidFill>
            <a:round/>
            <a:extLst>
              <a:ext uri="{C807C97D-BFC1-408E-A445-0C87EB9F89A2}">
                <ask:lineSketchStyleProps xmlns:ask="http://schemas.microsoft.com/office/drawing/2018/sketchyshapes" sd="1219033472">
                  <a:prstGeom prst="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9FA71A85-160A-4CFF-9241-BA71D421B86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51671" y="1690688"/>
            <a:ext cx="11652308" cy="4872318"/>
          </a:xfrm>
        </p:spPr>
        <p:txBody>
          <a:bodyPr>
            <a:normAutofit fontScale="40000" lnSpcReduction="20000"/>
          </a:bodyPr>
          <a:lstStyle/>
          <a:p>
            <a:pPr marL="0" indent="0">
              <a:buNone/>
            </a:pPr>
            <a:r>
              <a:rPr lang="fr-FR" sz="15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 </a:t>
            </a:r>
          </a:p>
          <a:p>
            <a:pPr algn="just"/>
            <a:r>
              <a:rPr lang="fr-FR" b="1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Ex 1)</a:t>
            </a:r>
            <a:r>
              <a:rPr lang="fr-FR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L’entreprise achète, en réglant par chèque, pour 100 000 € de marchandises.</a:t>
            </a:r>
          </a:p>
          <a:p>
            <a:pPr algn="just"/>
            <a:r>
              <a:rPr lang="fr-FR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	- Dans ce cas, le compte achat de marchandises augmente ou diminue ? =&gt; Il </a:t>
            </a:r>
            <a:r>
              <a:rPr lang="fr-FR" dirty="0">
                <a:solidFill>
                  <a:srgbClr val="FF0000"/>
                </a:solidFill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augmente</a:t>
            </a:r>
            <a:endParaRPr lang="fr-FR" dirty="0">
              <a:effectLst/>
              <a:latin typeface="Verdana" panose="020B060403050404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just"/>
            <a:r>
              <a:rPr lang="fr-FR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	- Dans ce cas, le compte banque augmente ou diminue ? =&gt; Il </a:t>
            </a:r>
            <a:r>
              <a:rPr lang="fr-FR" dirty="0">
                <a:solidFill>
                  <a:srgbClr val="FF0000"/>
                </a:solidFill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diminue</a:t>
            </a:r>
            <a:endParaRPr lang="fr-FR" dirty="0">
              <a:effectLst/>
              <a:latin typeface="Verdana" panose="020B060403050404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just"/>
            <a:r>
              <a:rPr lang="fr-FR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 </a:t>
            </a:r>
          </a:p>
          <a:p>
            <a:pPr algn="just"/>
            <a:r>
              <a:rPr lang="fr-FR" b="1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Ex 2)</a:t>
            </a:r>
            <a:r>
              <a:rPr lang="fr-FR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L’entreprise achète, à crédit, pour 200 000 € de matières premières.</a:t>
            </a:r>
          </a:p>
          <a:p>
            <a:pPr algn="just"/>
            <a:r>
              <a:rPr lang="fr-FR" b="1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	</a:t>
            </a:r>
            <a:r>
              <a:rPr lang="fr-FR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- Dans ce cas, le compte achat de matières 1</a:t>
            </a:r>
            <a:r>
              <a:rPr lang="fr-FR" baseline="300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ères</a:t>
            </a:r>
            <a:r>
              <a:rPr lang="fr-FR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, augmente ou diminue ? =&gt; Il </a:t>
            </a:r>
            <a:r>
              <a:rPr lang="fr-FR" dirty="0">
                <a:solidFill>
                  <a:srgbClr val="FF0000"/>
                </a:solidFill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augmente</a:t>
            </a:r>
            <a:endParaRPr lang="fr-FR" dirty="0">
              <a:effectLst/>
              <a:latin typeface="Verdana" panose="020B060403050404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just"/>
            <a:r>
              <a:rPr lang="fr-FR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	- Dans ce cas, le compte dettes fournisseurs, augmente ou diminue ? =&gt; Il </a:t>
            </a:r>
            <a:r>
              <a:rPr lang="fr-FR" dirty="0">
                <a:solidFill>
                  <a:srgbClr val="FF0000"/>
                </a:solidFill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augmente</a:t>
            </a:r>
            <a:endParaRPr lang="fr-FR" dirty="0">
              <a:effectLst/>
              <a:latin typeface="Verdana" panose="020B060403050404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just"/>
            <a:r>
              <a:rPr lang="fr-FR" dirty="0">
                <a:solidFill>
                  <a:srgbClr val="FF0000"/>
                </a:solidFill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 </a:t>
            </a:r>
            <a:endParaRPr lang="fr-FR" dirty="0">
              <a:effectLst/>
              <a:latin typeface="Verdana" panose="020B060403050404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just"/>
            <a:r>
              <a:rPr lang="fr-FR" b="1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Ex 3) </a:t>
            </a:r>
            <a:r>
              <a:rPr lang="fr-FR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L’entreprise perçoit 500 € d'intérêts d'un placement effectué dans une banque.</a:t>
            </a:r>
          </a:p>
          <a:p>
            <a:pPr algn="just"/>
            <a:r>
              <a:rPr lang="fr-FR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	- Dans ce cas, le compte intérêts reçus augmente ou diminue ? =&gt; Il </a:t>
            </a:r>
            <a:r>
              <a:rPr lang="fr-FR" dirty="0">
                <a:solidFill>
                  <a:srgbClr val="FF0000"/>
                </a:solidFill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augmente</a:t>
            </a:r>
            <a:endParaRPr lang="fr-FR" dirty="0">
              <a:effectLst/>
              <a:latin typeface="Verdana" panose="020B060403050404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just"/>
            <a:r>
              <a:rPr lang="fr-FR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	- Dans ce cas, le compte banque augmente ou diminue ? =&gt; Il </a:t>
            </a:r>
            <a:r>
              <a:rPr lang="fr-FR" dirty="0">
                <a:solidFill>
                  <a:srgbClr val="FF0000"/>
                </a:solidFill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augmente</a:t>
            </a:r>
            <a:endParaRPr lang="fr-FR" dirty="0">
              <a:effectLst/>
              <a:latin typeface="Verdana" panose="020B060403050404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just"/>
            <a:r>
              <a:rPr lang="fr-FR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 </a:t>
            </a:r>
          </a:p>
          <a:p>
            <a:pPr algn="just"/>
            <a:r>
              <a:rPr lang="fr-FR" b="1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Ex 4)</a:t>
            </a:r>
            <a:r>
              <a:rPr lang="fr-FR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L’entreprise vend des produits finis, à crédit, pour 500 000 €.</a:t>
            </a:r>
          </a:p>
          <a:p>
            <a:pPr algn="just"/>
            <a:r>
              <a:rPr lang="fr-FR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	- Dans ce cas, le compte vente de produits finis augmente ou diminue ? =&gt; Il </a:t>
            </a:r>
            <a:r>
              <a:rPr lang="fr-FR" dirty="0">
                <a:solidFill>
                  <a:srgbClr val="FF0000"/>
                </a:solidFill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augmente</a:t>
            </a:r>
            <a:endParaRPr lang="fr-FR" dirty="0">
              <a:effectLst/>
              <a:latin typeface="Verdana" panose="020B060403050404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just"/>
            <a:r>
              <a:rPr lang="fr-FR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	- Dans ce cas, le compte clients augmente ou diminue ? =&gt; Il</a:t>
            </a:r>
            <a:r>
              <a:rPr lang="fr-FR" dirty="0">
                <a:solidFill>
                  <a:srgbClr val="FF0000"/>
                </a:solidFill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augmente</a:t>
            </a:r>
            <a:endParaRPr lang="fr-FR" dirty="0">
              <a:effectLst/>
              <a:latin typeface="Verdana" panose="020B060403050404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just"/>
            <a:r>
              <a:rPr lang="fr-FR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 </a:t>
            </a:r>
          </a:p>
          <a:p>
            <a:pPr algn="just"/>
            <a:r>
              <a:rPr lang="fr-FR" b="1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Ex 5) </a:t>
            </a:r>
            <a:r>
              <a:rPr lang="fr-FR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L’entreprise achète un véhicule de transport, au comptant par chèque : 125 000 €.</a:t>
            </a:r>
          </a:p>
          <a:p>
            <a:pPr algn="just"/>
            <a:r>
              <a:rPr lang="fr-FR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	- Dans ce cas, le compte matériel de transport augmente ou diminue ? =&gt; Il </a:t>
            </a:r>
            <a:r>
              <a:rPr lang="fr-FR" dirty="0">
                <a:solidFill>
                  <a:srgbClr val="FF0000"/>
                </a:solidFill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augmente</a:t>
            </a:r>
            <a:endParaRPr lang="fr-FR" dirty="0">
              <a:effectLst/>
              <a:latin typeface="Verdana" panose="020B060403050404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just"/>
            <a:r>
              <a:rPr lang="fr-FR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	- Dans ce cas, le compte banque augmente ou diminue ? =&gt; Il</a:t>
            </a:r>
            <a:r>
              <a:rPr lang="fr-FR" dirty="0">
                <a:solidFill>
                  <a:srgbClr val="FF0000"/>
                </a:solidFill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diminue</a:t>
            </a:r>
            <a:endParaRPr lang="fr-FR" dirty="0">
              <a:effectLst/>
              <a:latin typeface="Verdana" panose="020B060403050404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indent="0" algn="just">
              <a:buNone/>
            </a:pPr>
            <a:endParaRPr lang="fr-FR" sz="1500" dirty="0"/>
          </a:p>
        </p:txBody>
      </p:sp>
    </p:spTree>
    <p:extLst>
      <p:ext uri="{BB962C8B-B14F-4D97-AF65-F5344CB8AC3E}">
        <p14:creationId xmlns:p14="http://schemas.microsoft.com/office/powerpoint/2010/main" val="4292866186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7" name="Rectangle 16">
            <a:extLst>
              <a:ext uri="{FF2B5EF4-FFF2-40B4-BE49-F238E27FC236}">
                <a16:creationId xmlns:a16="http://schemas.microsoft.com/office/drawing/2014/main" id="{100EDD19-6802-4EC3-95CE-CFFAB042CFD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AEFCB68E-E041-4E46-A233-3C2208DA32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</p:spPr>
        <p:txBody>
          <a:bodyPr>
            <a:normAutofit/>
          </a:bodyPr>
          <a:lstStyle/>
          <a:p>
            <a:r>
              <a:rPr lang="fr-FR" sz="5400" dirty="0"/>
              <a:t>Comptabilisation – Cas UP2 suite</a:t>
            </a:r>
          </a:p>
        </p:txBody>
      </p:sp>
      <p:sp>
        <p:nvSpPr>
          <p:cNvPr id="19" name="sketch line">
            <a:extLst>
              <a:ext uri="{FF2B5EF4-FFF2-40B4-BE49-F238E27FC236}">
                <a16:creationId xmlns:a16="http://schemas.microsoft.com/office/drawing/2014/main" id="{DB17E863-922E-4C26-BD64-E8FD41D2866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669036" y="1677373"/>
            <a:ext cx="10853928" cy="18288"/>
          </a:xfrm>
          <a:custGeom>
            <a:avLst/>
            <a:gdLst>
              <a:gd name="connsiteX0" fmla="*/ 0 w 10853928"/>
              <a:gd name="connsiteY0" fmla="*/ 0 h 18288"/>
              <a:gd name="connsiteX1" fmla="*/ 461292 w 10853928"/>
              <a:gd name="connsiteY1" fmla="*/ 0 h 18288"/>
              <a:gd name="connsiteX2" fmla="*/ 1139662 w 10853928"/>
              <a:gd name="connsiteY2" fmla="*/ 0 h 18288"/>
              <a:gd name="connsiteX3" fmla="*/ 1926572 w 10853928"/>
              <a:gd name="connsiteY3" fmla="*/ 0 h 18288"/>
              <a:gd name="connsiteX4" fmla="*/ 2279325 w 10853928"/>
              <a:gd name="connsiteY4" fmla="*/ 0 h 18288"/>
              <a:gd name="connsiteX5" fmla="*/ 2632078 w 10853928"/>
              <a:gd name="connsiteY5" fmla="*/ 0 h 18288"/>
              <a:gd name="connsiteX6" fmla="*/ 3527527 w 10853928"/>
              <a:gd name="connsiteY6" fmla="*/ 0 h 18288"/>
              <a:gd name="connsiteX7" fmla="*/ 4205897 w 10853928"/>
              <a:gd name="connsiteY7" fmla="*/ 0 h 18288"/>
              <a:gd name="connsiteX8" fmla="*/ 4558650 w 10853928"/>
              <a:gd name="connsiteY8" fmla="*/ 0 h 18288"/>
              <a:gd name="connsiteX9" fmla="*/ 5237020 w 10853928"/>
              <a:gd name="connsiteY9" fmla="*/ 0 h 18288"/>
              <a:gd name="connsiteX10" fmla="*/ 6132469 w 10853928"/>
              <a:gd name="connsiteY10" fmla="*/ 0 h 18288"/>
              <a:gd name="connsiteX11" fmla="*/ 6702301 w 10853928"/>
              <a:gd name="connsiteY11" fmla="*/ 0 h 18288"/>
              <a:gd name="connsiteX12" fmla="*/ 7272132 w 10853928"/>
              <a:gd name="connsiteY12" fmla="*/ 0 h 18288"/>
              <a:gd name="connsiteX13" fmla="*/ 7950502 w 10853928"/>
              <a:gd name="connsiteY13" fmla="*/ 0 h 18288"/>
              <a:gd name="connsiteX14" fmla="*/ 8737412 w 10853928"/>
              <a:gd name="connsiteY14" fmla="*/ 0 h 18288"/>
              <a:gd name="connsiteX15" fmla="*/ 9524322 w 10853928"/>
              <a:gd name="connsiteY15" fmla="*/ 0 h 18288"/>
              <a:gd name="connsiteX16" fmla="*/ 10853928 w 10853928"/>
              <a:gd name="connsiteY16" fmla="*/ 0 h 18288"/>
              <a:gd name="connsiteX17" fmla="*/ 10853928 w 10853928"/>
              <a:gd name="connsiteY17" fmla="*/ 18288 h 18288"/>
              <a:gd name="connsiteX18" fmla="*/ 10392636 w 10853928"/>
              <a:gd name="connsiteY18" fmla="*/ 18288 h 18288"/>
              <a:gd name="connsiteX19" fmla="*/ 9497187 w 10853928"/>
              <a:gd name="connsiteY19" fmla="*/ 18288 h 18288"/>
              <a:gd name="connsiteX20" fmla="*/ 8818817 w 10853928"/>
              <a:gd name="connsiteY20" fmla="*/ 18288 h 18288"/>
              <a:gd name="connsiteX21" fmla="*/ 8466064 w 10853928"/>
              <a:gd name="connsiteY21" fmla="*/ 18288 h 18288"/>
              <a:gd name="connsiteX22" fmla="*/ 7787693 w 10853928"/>
              <a:gd name="connsiteY22" fmla="*/ 18288 h 18288"/>
              <a:gd name="connsiteX23" fmla="*/ 7217862 w 10853928"/>
              <a:gd name="connsiteY23" fmla="*/ 18288 h 18288"/>
              <a:gd name="connsiteX24" fmla="*/ 6648031 w 10853928"/>
              <a:gd name="connsiteY24" fmla="*/ 18288 h 18288"/>
              <a:gd name="connsiteX25" fmla="*/ 6078200 w 10853928"/>
              <a:gd name="connsiteY25" fmla="*/ 18288 h 18288"/>
              <a:gd name="connsiteX26" fmla="*/ 5508368 w 10853928"/>
              <a:gd name="connsiteY26" fmla="*/ 18288 h 18288"/>
              <a:gd name="connsiteX27" fmla="*/ 4721459 w 10853928"/>
              <a:gd name="connsiteY27" fmla="*/ 18288 h 18288"/>
              <a:gd name="connsiteX28" fmla="*/ 4043088 w 10853928"/>
              <a:gd name="connsiteY28" fmla="*/ 18288 h 18288"/>
              <a:gd name="connsiteX29" fmla="*/ 3690336 w 10853928"/>
              <a:gd name="connsiteY29" fmla="*/ 18288 h 18288"/>
              <a:gd name="connsiteX30" fmla="*/ 3120504 w 10853928"/>
              <a:gd name="connsiteY30" fmla="*/ 18288 h 18288"/>
              <a:gd name="connsiteX31" fmla="*/ 2333595 w 10853928"/>
              <a:gd name="connsiteY31" fmla="*/ 18288 h 18288"/>
              <a:gd name="connsiteX32" fmla="*/ 1872303 w 10853928"/>
              <a:gd name="connsiteY32" fmla="*/ 18288 h 18288"/>
              <a:gd name="connsiteX33" fmla="*/ 976854 w 10853928"/>
              <a:gd name="connsiteY33" fmla="*/ 18288 h 18288"/>
              <a:gd name="connsiteX34" fmla="*/ 0 w 10853928"/>
              <a:gd name="connsiteY34" fmla="*/ 18288 h 18288"/>
              <a:gd name="connsiteX35" fmla="*/ 0 w 10853928"/>
              <a:gd name="connsiteY35" fmla="*/ 0 h 182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</a:cxnLst>
            <a:rect l="l" t="t" r="r" b="b"/>
            <a:pathLst>
              <a:path w="10853928" h="18288" fill="none" extrusionOk="0">
                <a:moveTo>
                  <a:pt x="0" y="0"/>
                </a:moveTo>
                <a:cubicBezTo>
                  <a:pt x="146993" y="-19076"/>
                  <a:pt x="347684" y="-4790"/>
                  <a:pt x="461292" y="0"/>
                </a:cubicBezTo>
                <a:cubicBezTo>
                  <a:pt x="574900" y="4790"/>
                  <a:pt x="808367" y="19821"/>
                  <a:pt x="1139662" y="0"/>
                </a:cubicBezTo>
                <a:cubicBezTo>
                  <a:pt x="1470957" y="-19821"/>
                  <a:pt x="1627405" y="5721"/>
                  <a:pt x="1926572" y="0"/>
                </a:cubicBezTo>
                <a:cubicBezTo>
                  <a:pt x="2225739" y="-5721"/>
                  <a:pt x="2137730" y="-3235"/>
                  <a:pt x="2279325" y="0"/>
                </a:cubicBezTo>
                <a:cubicBezTo>
                  <a:pt x="2420920" y="3235"/>
                  <a:pt x="2456518" y="9685"/>
                  <a:pt x="2632078" y="0"/>
                </a:cubicBezTo>
                <a:cubicBezTo>
                  <a:pt x="2807638" y="-9685"/>
                  <a:pt x="3211516" y="-43007"/>
                  <a:pt x="3527527" y="0"/>
                </a:cubicBezTo>
                <a:cubicBezTo>
                  <a:pt x="3843538" y="43007"/>
                  <a:pt x="4058833" y="22042"/>
                  <a:pt x="4205897" y="0"/>
                </a:cubicBezTo>
                <a:cubicBezTo>
                  <a:pt x="4352961" y="-22042"/>
                  <a:pt x="4474805" y="-11846"/>
                  <a:pt x="4558650" y="0"/>
                </a:cubicBezTo>
                <a:cubicBezTo>
                  <a:pt x="4642495" y="11846"/>
                  <a:pt x="5041928" y="-6069"/>
                  <a:pt x="5237020" y="0"/>
                </a:cubicBezTo>
                <a:cubicBezTo>
                  <a:pt x="5432112" y="6069"/>
                  <a:pt x="5943266" y="-17479"/>
                  <a:pt x="6132469" y="0"/>
                </a:cubicBezTo>
                <a:cubicBezTo>
                  <a:pt x="6321672" y="17479"/>
                  <a:pt x="6483872" y="26234"/>
                  <a:pt x="6702301" y="0"/>
                </a:cubicBezTo>
                <a:cubicBezTo>
                  <a:pt x="6920730" y="-26234"/>
                  <a:pt x="6991194" y="-15156"/>
                  <a:pt x="7272132" y="0"/>
                </a:cubicBezTo>
                <a:cubicBezTo>
                  <a:pt x="7553070" y="15156"/>
                  <a:pt x="7684444" y="-32961"/>
                  <a:pt x="7950502" y="0"/>
                </a:cubicBezTo>
                <a:cubicBezTo>
                  <a:pt x="8216560" y="32961"/>
                  <a:pt x="8493290" y="-10491"/>
                  <a:pt x="8737412" y="0"/>
                </a:cubicBezTo>
                <a:cubicBezTo>
                  <a:pt x="8981534" y="10491"/>
                  <a:pt x="9191586" y="-13899"/>
                  <a:pt x="9524322" y="0"/>
                </a:cubicBezTo>
                <a:cubicBezTo>
                  <a:pt x="9857058" y="13899"/>
                  <a:pt x="10297509" y="7485"/>
                  <a:pt x="10853928" y="0"/>
                </a:cubicBezTo>
                <a:cubicBezTo>
                  <a:pt x="10854574" y="4451"/>
                  <a:pt x="10854418" y="9226"/>
                  <a:pt x="10853928" y="18288"/>
                </a:cubicBezTo>
                <a:cubicBezTo>
                  <a:pt x="10691638" y="28522"/>
                  <a:pt x="10574319" y="29578"/>
                  <a:pt x="10392636" y="18288"/>
                </a:cubicBezTo>
                <a:cubicBezTo>
                  <a:pt x="10210953" y="6998"/>
                  <a:pt x="9836277" y="-16742"/>
                  <a:pt x="9497187" y="18288"/>
                </a:cubicBezTo>
                <a:cubicBezTo>
                  <a:pt x="9158097" y="53318"/>
                  <a:pt x="9119479" y="30714"/>
                  <a:pt x="8818817" y="18288"/>
                </a:cubicBezTo>
                <a:cubicBezTo>
                  <a:pt x="8518155" y="5863"/>
                  <a:pt x="8640037" y="6483"/>
                  <a:pt x="8466064" y="18288"/>
                </a:cubicBezTo>
                <a:cubicBezTo>
                  <a:pt x="8292091" y="30093"/>
                  <a:pt x="7997656" y="18914"/>
                  <a:pt x="7787693" y="18288"/>
                </a:cubicBezTo>
                <a:cubicBezTo>
                  <a:pt x="7577730" y="17662"/>
                  <a:pt x="7412468" y="21416"/>
                  <a:pt x="7217862" y="18288"/>
                </a:cubicBezTo>
                <a:cubicBezTo>
                  <a:pt x="7023256" y="15160"/>
                  <a:pt x="6898018" y="14824"/>
                  <a:pt x="6648031" y="18288"/>
                </a:cubicBezTo>
                <a:cubicBezTo>
                  <a:pt x="6398044" y="21752"/>
                  <a:pt x="6254402" y="38625"/>
                  <a:pt x="6078200" y="18288"/>
                </a:cubicBezTo>
                <a:cubicBezTo>
                  <a:pt x="5901998" y="-2049"/>
                  <a:pt x="5622886" y="3213"/>
                  <a:pt x="5508368" y="18288"/>
                </a:cubicBezTo>
                <a:cubicBezTo>
                  <a:pt x="5393850" y="33363"/>
                  <a:pt x="5036260" y="26830"/>
                  <a:pt x="4721459" y="18288"/>
                </a:cubicBezTo>
                <a:cubicBezTo>
                  <a:pt x="4406658" y="9746"/>
                  <a:pt x="4239221" y="41551"/>
                  <a:pt x="4043088" y="18288"/>
                </a:cubicBezTo>
                <a:cubicBezTo>
                  <a:pt x="3846955" y="-4975"/>
                  <a:pt x="3818802" y="34658"/>
                  <a:pt x="3690336" y="18288"/>
                </a:cubicBezTo>
                <a:cubicBezTo>
                  <a:pt x="3561870" y="1918"/>
                  <a:pt x="3265491" y="42194"/>
                  <a:pt x="3120504" y="18288"/>
                </a:cubicBezTo>
                <a:cubicBezTo>
                  <a:pt x="2975517" y="-5618"/>
                  <a:pt x="2720254" y="36673"/>
                  <a:pt x="2333595" y="18288"/>
                </a:cubicBezTo>
                <a:cubicBezTo>
                  <a:pt x="1946936" y="-97"/>
                  <a:pt x="2097241" y="5776"/>
                  <a:pt x="1872303" y="18288"/>
                </a:cubicBezTo>
                <a:cubicBezTo>
                  <a:pt x="1647365" y="30800"/>
                  <a:pt x="1282708" y="45380"/>
                  <a:pt x="976854" y="18288"/>
                </a:cubicBezTo>
                <a:cubicBezTo>
                  <a:pt x="671000" y="-8804"/>
                  <a:pt x="408401" y="-12775"/>
                  <a:pt x="0" y="18288"/>
                </a:cubicBezTo>
                <a:cubicBezTo>
                  <a:pt x="-213" y="9468"/>
                  <a:pt x="187" y="4459"/>
                  <a:pt x="0" y="0"/>
                </a:cubicBezTo>
                <a:close/>
              </a:path>
              <a:path w="10853928" h="18288" stroke="0" extrusionOk="0">
                <a:moveTo>
                  <a:pt x="0" y="0"/>
                </a:moveTo>
                <a:cubicBezTo>
                  <a:pt x="267322" y="15284"/>
                  <a:pt x="415388" y="-21048"/>
                  <a:pt x="569831" y="0"/>
                </a:cubicBezTo>
                <a:cubicBezTo>
                  <a:pt x="724274" y="21048"/>
                  <a:pt x="769333" y="-2353"/>
                  <a:pt x="922584" y="0"/>
                </a:cubicBezTo>
                <a:cubicBezTo>
                  <a:pt x="1075835" y="2353"/>
                  <a:pt x="1399490" y="-145"/>
                  <a:pt x="1818033" y="0"/>
                </a:cubicBezTo>
                <a:cubicBezTo>
                  <a:pt x="2236576" y="145"/>
                  <a:pt x="2145330" y="5482"/>
                  <a:pt x="2387864" y="0"/>
                </a:cubicBezTo>
                <a:cubicBezTo>
                  <a:pt x="2630398" y="-5482"/>
                  <a:pt x="2793207" y="18487"/>
                  <a:pt x="2957695" y="0"/>
                </a:cubicBezTo>
                <a:cubicBezTo>
                  <a:pt x="3122183" y="-18487"/>
                  <a:pt x="3579141" y="19003"/>
                  <a:pt x="3853144" y="0"/>
                </a:cubicBezTo>
                <a:cubicBezTo>
                  <a:pt x="4127147" y="-19003"/>
                  <a:pt x="4209857" y="12211"/>
                  <a:pt x="4314436" y="0"/>
                </a:cubicBezTo>
                <a:cubicBezTo>
                  <a:pt x="4419015" y="-12211"/>
                  <a:pt x="4762459" y="-17220"/>
                  <a:pt x="5209885" y="0"/>
                </a:cubicBezTo>
                <a:cubicBezTo>
                  <a:pt x="5657311" y="17220"/>
                  <a:pt x="5692663" y="-3290"/>
                  <a:pt x="6105335" y="0"/>
                </a:cubicBezTo>
                <a:cubicBezTo>
                  <a:pt x="6518007" y="3290"/>
                  <a:pt x="6455516" y="-5124"/>
                  <a:pt x="6783705" y="0"/>
                </a:cubicBezTo>
                <a:cubicBezTo>
                  <a:pt x="7111894" y="5124"/>
                  <a:pt x="7441941" y="-17829"/>
                  <a:pt x="7679154" y="0"/>
                </a:cubicBezTo>
                <a:cubicBezTo>
                  <a:pt x="7916367" y="17829"/>
                  <a:pt x="8102967" y="-24363"/>
                  <a:pt x="8248985" y="0"/>
                </a:cubicBezTo>
                <a:cubicBezTo>
                  <a:pt x="8395003" y="24363"/>
                  <a:pt x="8552393" y="25505"/>
                  <a:pt x="8818817" y="0"/>
                </a:cubicBezTo>
                <a:cubicBezTo>
                  <a:pt x="9085241" y="-25505"/>
                  <a:pt x="9411308" y="38000"/>
                  <a:pt x="9605726" y="0"/>
                </a:cubicBezTo>
                <a:cubicBezTo>
                  <a:pt x="9800144" y="-38000"/>
                  <a:pt x="10006468" y="-25741"/>
                  <a:pt x="10175558" y="0"/>
                </a:cubicBezTo>
                <a:cubicBezTo>
                  <a:pt x="10344648" y="25741"/>
                  <a:pt x="10696282" y="695"/>
                  <a:pt x="10853928" y="0"/>
                </a:cubicBezTo>
                <a:cubicBezTo>
                  <a:pt x="10853521" y="8690"/>
                  <a:pt x="10853774" y="14141"/>
                  <a:pt x="10853928" y="18288"/>
                </a:cubicBezTo>
                <a:cubicBezTo>
                  <a:pt x="10608124" y="24255"/>
                  <a:pt x="10343415" y="22307"/>
                  <a:pt x="10067018" y="18288"/>
                </a:cubicBezTo>
                <a:cubicBezTo>
                  <a:pt x="9790621" y="14270"/>
                  <a:pt x="9843266" y="3564"/>
                  <a:pt x="9714266" y="18288"/>
                </a:cubicBezTo>
                <a:cubicBezTo>
                  <a:pt x="9585266" y="33012"/>
                  <a:pt x="9379484" y="1875"/>
                  <a:pt x="9252974" y="18288"/>
                </a:cubicBezTo>
                <a:cubicBezTo>
                  <a:pt x="9126464" y="34701"/>
                  <a:pt x="8580678" y="-4904"/>
                  <a:pt x="8357525" y="18288"/>
                </a:cubicBezTo>
                <a:cubicBezTo>
                  <a:pt x="8134372" y="41480"/>
                  <a:pt x="7903199" y="26458"/>
                  <a:pt x="7679154" y="18288"/>
                </a:cubicBezTo>
                <a:cubicBezTo>
                  <a:pt x="7455109" y="10118"/>
                  <a:pt x="7435944" y="27109"/>
                  <a:pt x="7217862" y="18288"/>
                </a:cubicBezTo>
                <a:cubicBezTo>
                  <a:pt x="6999780" y="9467"/>
                  <a:pt x="6680409" y="18985"/>
                  <a:pt x="6539492" y="18288"/>
                </a:cubicBezTo>
                <a:cubicBezTo>
                  <a:pt x="6398575" y="17592"/>
                  <a:pt x="6312077" y="33018"/>
                  <a:pt x="6186739" y="18288"/>
                </a:cubicBezTo>
                <a:cubicBezTo>
                  <a:pt x="6061401" y="3558"/>
                  <a:pt x="5947033" y="12075"/>
                  <a:pt x="5833986" y="18288"/>
                </a:cubicBezTo>
                <a:cubicBezTo>
                  <a:pt x="5720939" y="24501"/>
                  <a:pt x="5482226" y="8586"/>
                  <a:pt x="5155616" y="18288"/>
                </a:cubicBezTo>
                <a:cubicBezTo>
                  <a:pt x="4829006" y="27991"/>
                  <a:pt x="4841274" y="29316"/>
                  <a:pt x="4694324" y="18288"/>
                </a:cubicBezTo>
                <a:cubicBezTo>
                  <a:pt x="4547374" y="7260"/>
                  <a:pt x="4077675" y="7013"/>
                  <a:pt x="3907414" y="18288"/>
                </a:cubicBezTo>
                <a:cubicBezTo>
                  <a:pt x="3737153" y="29564"/>
                  <a:pt x="3538393" y="21630"/>
                  <a:pt x="3446122" y="18288"/>
                </a:cubicBezTo>
                <a:cubicBezTo>
                  <a:pt x="3353851" y="14946"/>
                  <a:pt x="2990320" y="-8091"/>
                  <a:pt x="2659212" y="18288"/>
                </a:cubicBezTo>
                <a:cubicBezTo>
                  <a:pt x="2328104" y="44667"/>
                  <a:pt x="2427653" y="9607"/>
                  <a:pt x="2306460" y="18288"/>
                </a:cubicBezTo>
                <a:cubicBezTo>
                  <a:pt x="2185267" y="26969"/>
                  <a:pt x="1719763" y="3717"/>
                  <a:pt x="1519550" y="18288"/>
                </a:cubicBezTo>
                <a:cubicBezTo>
                  <a:pt x="1319337" y="32860"/>
                  <a:pt x="1167371" y="17040"/>
                  <a:pt x="1058258" y="18288"/>
                </a:cubicBezTo>
                <a:cubicBezTo>
                  <a:pt x="949145" y="19536"/>
                  <a:pt x="780234" y="31447"/>
                  <a:pt x="705505" y="18288"/>
                </a:cubicBezTo>
                <a:cubicBezTo>
                  <a:pt x="630776" y="5129"/>
                  <a:pt x="215796" y="30056"/>
                  <a:pt x="0" y="18288"/>
                </a:cubicBezTo>
                <a:cubicBezTo>
                  <a:pt x="-53" y="11301"/>
                  <a:pt x="-649" y="7756"/>
                  <a:pt x="0" y="0"/>
                </a:cubicBezTo>
                <a:close/>
              </a:path>
            </a:pathLst>
          </a:custGeom>
          <a:solidFill>
            <a:schemeClr val="accent2"/>
          </a:solidFill>
          <a:ln w="41275" cap="rnd">
            <a:solidFill>
              <a:schemeClr val="accent2"/>
            </a:solidFill>
            <a:round/>
            <a:extLst>
              <a:ext uri="{C807C97D-BFC1-408E-A445-0C87EB9F89A2}">
                <ask:lineSketchStyleProps xmlns:ask="http://schemas.microsoft.com/office/drawing/2018/sketchyshapes" sd="1219033472">
                  <a:prstGeom prst="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9FA71A85-160A-4CFF-9241-BA71D421B86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01841" y="1874786"/>
            <a:ext cx="11051959" cy="4688220"/>
          </a:xfrm>
        </p:spPr>
        <p:txBody>
          <a:bodyPr>
            <a:normAutofit fontScale="85000" lnSpcReduction="20000"/>
          </a:bodyPr>
          <a:lstStyle/>
          <a:p>
            <a:pPr marL="0" indent="0">
              <a:buNone/>
            </a:pPr>
            <a:r>
              <a:rPr lang="fr-FR" sz="15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 </a:t>
            </a:r>
          </a:p>
          <a:p>
            <a:pPr algn="just"/>
            <a:r>
              <a:rPr lang="fr-FR" sz="1800" b="1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Ex 6) </a:t>
            </a:r>
            <a:r>
              <a:rPr lang="fr-FR" sz="18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L’entreprise verse le montant de la caisse sur son compte en banque (5 000 €)</a:t>
            </a:r>
          </a:p>
          <a:p>
            <a:pPr algn="just"/>
            <a:r>
              <a:rPr lang="fr-FR" sz="18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	- Dans ce cas, le compte caisse (53) augmente ou diminue ? =&gt; Il </a:t>
            </a:r>
          </a:p>
          <a:p>
            <a:pPr algn="just"/>
            <a:r>
              <a:rPr lang="fr-FR" sz="18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	- Dans ce cas, le compte banque (512) augmente ou diminue ? =&gt; Il</a:t>
            </a:r>
          </a:p>
          <a:p>
            <a:pPr algn="just"/>
            <a:r>
              <a:rPr lang="fr-FR" sz="18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 </a:t>
            </a:r>
          </a:p>
          <a:p>
            <a:pPr algn="just"/>
            <a:r>
              <a:rPr lang="fr-FR" sz="1800" b="1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Ex 7) </a:t>
            </a:r>
            <a:r>
              <a:rPr lang="fr-FR" sz="18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L’entreprise sort du liquide, de son compte en banque, et le met en caisse (25 000 €)</a:t>
            </a:r>
          </a:p>
          <a:p>
            <a:pPr algn="just"/>
            <a:r>
              <a:rPr lang="fr-FR" sz="18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	- Dans ce cas, le compte caisse (53) augmente ou diminue ? =&gt; Il </a:t>
            </a:r>
          </a:p>
          <a:p>
            <a:pPr algn="just"/>
            <a:r>
              <a:rPr lang="fr-FR" sz="18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	- Dans ce cas, le compte banque (512) augmente ou diminue ? =&gt; Il</a:t>
            </a:r>
          </a:p>
          <a:p>
            <a:pPr algn="just"/>
            <a:r>
              <a:rPr lang="fr-FR" sz="18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 </a:t>
            </a:r>
          </a:p>
          <a:p>
            <a:pPr algn="just"/>
            <a:r>
              <a:rPr lang="fr-FR" sz="1800" b="1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Ex 8) </a:t>
            </a:r>
            <a:r>
              <a:rPr lang="fr-FR" sz="18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L’entreprise règle par chèque une dette envers un fournisseur à qui elle devait 15 000 € </a:t>
            </a:r>
          </a:p>
          <a:p>
            <a:pPr algn="just"/>
            <a:r>
              <a:rPr lang="fr-FR" sz="18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	- Dans ce cas, le compte fournisseurs (401) augmente ou diminue ? =&gt; Il </a:t>
            </a:r>
          </a:p>
          <a:p>
            <a:pPr algn="just"/>
            <a:r>
              <a:rPr lang="fr-FR" sz="18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	- Dans ce cas, le compte banque (512) augmente ou diminue ? =&gt; Il</a:t>
            </a:r>
          </a:p>
          <a:p>
            <a:pPr algn="just"/>
            <a:r>
              <a:rPr lang="fr-FR" sz="18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 </a:t>
            </a:r>
          </a:p>
          <a:p>
            <a:pPr algn="just"/>
            <a:r>
              <a:rPr lang="fr-FR" sz="1800" b="1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Ex 9)</a:t>
            </a:r>
            <a:r>
              <a:rPr lang="fr-FR" sz="18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Un client règle, en liquide, 3 500 € qu'il nous devait.</a:t>
            </a:r>
          </a:p>
          <a:p>
            <a:pPr algn="just"/>
            <a:r>
              <a:rPr lang="fr-FR" sz="18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	- Dans ce cas, le compte clients (411) augmente ou diminue ? =&gt; Il </a:t>
            </a:r>
          </a:p>
          <a:p>
            <a:pPr algn="just"/>
            <a:r>
              <a:rPr lang="fr-FR" sz="18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	- Dans ce cas, le compte caisse (53) augmente ou diminue ? =&gt; Il</a:t>
            </a:r>
          </a:p>
          <a:p>
            <a:pPr marL="0" indent="0" algn="just">
              <a:buNone/>
            </a:pPr>
            <a:endParaRPr lang="fr-FR" sz="1500" dirty="0"/>
          </a:p>
        </p:txBody>
      </p:sp>
    </p:spTree>
    <p:extLst>
      <p:ext uri="{BB962C8B-B14F-4D97-AF65-F5344CB8AC3E}">
        <p14:creationId xmlns:p14="http://schemas.microsoft.com/office/powerpoint/2010/main" val="401040618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1C3FB199-37AF-4AEB-91D2-99997345373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918895"/>
          </a:xfr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 err="1">
                <a:latin typeface="Arial" panose="020B0604020202020204" pitchFamily="34" charset="0"/>
                <a:cs typeface="Arial" panose="020B0604020202020204" pitchFamily="34" charset="0"/>
              </a:rPr>
              <a:t>Programme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dirty="0" err="1">
                <a:latin typeface="Arial" panose="020B0604020202020204" pitchFamily="34" charset="0"/>
                <a:cs typeface="Arial" panose="020B0604020202020204" pitchFamily="34" charset="0"/>
              </a:rPr>
              <a:t>prévisionnel</a:t>
            </a:r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ZoneTexte 3">
            <a:extLst>
              <a:ext uri="{FF2B5EF4-FFF2-40B4-BE49-F238E27FC236}">
                <a16:creationId xmlns:a16="http://schemas.microsoft.com/office/drawing/2014/main" id="{46D878E7-F5C5-452B-937D-8840816B6ECF}"/>
              </a:ext>
            </a:extLst>
          </p:cNvPr>
          <p:cNvSpPr txBox="1"/>
          <p:nvPr/>
        </p:nvSpPr>
        <p:spPr>
          <a:xfrm>
            <a:off x="2843428" y="6003837"/>
            <a:ext cx="6505071" cy="40540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algn="ctr">
              <a:lnSpc>
                <a:spcPct val="90000"/>
              </a:lnSpc>
              <a:spcBef>
                <a:spcPts val="1000"/>
              </a:spcBef>
            </a:pPr>
            <a:endParaRPr lang="en-US" sz="1400" dirty="0">
              <a:solidFill>
                <a:prstClr val="white"/>
              </a:solidFill>
              <a:latin typeface="Calibri"/>
            </a:endParaRPr>
          </a:p>
        </p:txBody>
      </p:sp>
      <p:graphicFrame>
        <p:nvGraphicFramePr>
          <p:cNvPr id="3" name="Tableau 2">
            <a:extLst>
              <a:ext uri="{FF2B5EF4-FFF2-40B4-BE49-F238E27FC236}">
                <a16:creationId xmlns:a16="http://schemas.microsoft.com/office/drawing/2014/main" id="{90A39BD7-E179-4570-8079-E6A295B4926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77173423"/>
              </p:ext>
            </p:extLst>
          </p:nvPr>
        </p:nvGraphicFramePr>
        <p:xfrm>
          <a:off x="410547" y="1193533"/>
          <a:ext cx="11171816" cy="5160900"/>
        </p:xfrm>
        <a:graphic>
          <a:graphicData uri="http://schemas.openxmlformats.org/drawingml/2006/table">
            <a:tbl>
              <a:tblPr firstRow="1" firstCol="1" bandRow="1">
                <a:solidFill>
                  <a:srgbClr val="F2F2F2">
                    <a:alpha val="30196"/>
                  </a:srgbClr>
                </a:solidFill>
              </a:tblPr>
              <a:tblGrid>
                <a:gridCol w="1131458">
                  <a:extLst>
                    <a:ext uri="{9D8B030D-6E8A-4147-A177-3AD203B41FA5}">
                      <a16:colId xmlns:a16="http://schemas.microsoft.com/office/drawing/2014/main" val="421084245"/>
                    </a:ext>
                  </a:extLst>
                </a:gridCol>
                <a:gridCol w="10040358">
                  <a:extLst>
                    <a:ext uri="{9D8B030D-6E8A-4147-A177-3AD203B41FA5}">
                      <a16:colId xmlns:a16="http://schemas.microsoft.com/office/drawing/2014/main" val="3974086313"/>
                    </a:ext>
                  </a:extLst>
                </a:gridCol>
              </a:tblGrid>
              <a:tr h="451301">
                <a:tc>
                  <a:txBody>
                    <a:bodyPr/>
                    <a:lstStyle/>
                    <a:p>
                      <a:pPr>
                        <a:tabLst>
                          <a:tab pos="3978910" algn="l"/>
                        </a:tabLst>
                      </a:pPr>
                      <a:r>
                        <a:rPr lang="fr-FR" sz="1500" b="0" cap="none" spc="0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Séance</a:t>
                      </a:r>
                      <a:endParaRPr lang="fr-FR" sz="1500" b="0" cap="none" spc="0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123949" marR="71509" marT="95345" marB="95345" anchor="ctr">
                    <a:lnL w="19050" cap="flat" cmpd="sng" algn="ctr">
                      <a:noFill/>
                      <a:prstDash val="solid"/>
                    </a:lnL>
                    <a:lnR w="12700" cmpd="sng">
                      <a:noFill/>
                    </a:lnR>
                    <a:lnT w="19050" cap="flat" cmpd="sng" algn="ctr">
                      <a:noFill/>
                      <a:prstDash val="solid"/>
                    </a:lnT>
                    <a:lnB w="38100" cmpd="sng">
                      <a:noFill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tabLst>
                          <a:tab pos="3978910" algn="l"/>
                        </a:tabLst>
                      </a:pPr>
                      <a:r>
                        <a:rPr lang="fr-FR" sz="1500" b="0" cap="none" spc="0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Contenu des séances</a:t>
                      </a:r>
                      <a:endParaRPr lang="fr-FR" sz="1500" b="0" cap="none" spc="0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123949" marR="71509" marT="95345" marB="95345" anchor="ctr"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noFill/>
                      <a:prstDash val="solid"/>
                    </a:lnT>
                    <a:lnB w="38100" cmpd="sng">
                      <a:noFill/>
                    </a:lnB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94008224"/>
                  </a:ext>
                </a:extLst>
              </a:tr>
              <a:tr h="451301">
                <a:tc>
                  <a:txBody>
                    <a:bodyPr/>
                    <a:lstStyle/>
                    <a:p>
                      <a:pPr>
                        <a:tabLst>
                          <a:tab pos="3978910" algn="l"/>
                        </a:tabLst>
                      </a:pPr>
                      <a:r>
                        <a:rPr lang="fr-FR" sz="1500" cap="none" spc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1-2-3-4</a:t>
                      </a:r>
                      <a:endParaRPr lang="fr-FR" sz="1500" cap="none" spc="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123949" marR="71509" marT="95345" marB="95345" anchor="ctr">
                    <a:lnL w="38100" cap="flat" cmpd="sng" algn="ctr">
                      <a:noFill/>
                      <a:prstDash val="soli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</a:lnR>
                    <a:lnT w="38100" cmpd="sng">
                      <a:noFill/>
                    </a:lnT>
                    <a:lnB w="6350" cap="flat" cmpd="sng" algn="ctr">
                      <a:noFill/>
                      <a:prstDash val="solid"/>
                    </a:lnB>
                    <a:solidFill>
                      <a:srgbClr val="F2F2F2">
                        <a:alpha val="3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tabLst>
                          <a:tab pos="3978910" algn="l"/>
                        </a:tabLst>
                      </a:pPr>
                      <a:r>
                        <a:rPr lang="fr-FR" sz="1500" cap="none" spc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Concepts et principes de base de la comptabilité – Le PCG – Les différentes classes – LAB -</a:t>
                      </a:r>
                    </a:p>
                  </a:txBody>
                  <a:tcPr marL="123949" marR="71509" marT="95345" marB="95345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</a:lnL>
                    <a:lnR w="38100" cap="flat" cmpd="sng" algn="ctr">
                      <a:noFill/>
                      <a:prstDash val="solid"/>
                    </a:lnR>
                    <a:lnT w="38100" cmpd="sng">
                      <a:noFill/>
                    </a:lnT>
                    <a:lnB w="6350" cap="flat" cmpd="sng" algn="ctr">
                      <a:noFill/>
                      <a:prstDash val="solid"/>
                    </a:lnB>
                    <a:solidFill>
                      <a:srgbClr val="F2F2F2">
                        <a:alpha val="30196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42013335"/>
                  </a:ext>
                </a:extLst>
              </a:tr>
              <a:tr h="451301">
                <a:tc>
                  <a:txBody>
                    <a:bodyPr/>
                    <a:lstStyle/>
                    <a:p>
                      <a:pPr>
                        <a:tabLst>
                          <a:tab pos="3978910" algn="l"/>
                        </a:tabLst>
                      </a:pPr>
                      <a:r>
                        <a:rPr lang="fr-FR" sz="1500" cap="none" spc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5-6</a:t>
                      </a:r>
                      <a:endParaRPr lang="fr-FR" sz="1500" cap="none" spc="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123949" marR="71509" marT="95345" marB="95345" anchor="ctr">
                    <a:lnL w="6350" cap="flat" cmpd="sng" algn="ctr">
                      <a:noFill/>
                      <a:prstDash val="solid"/>
                    </a:lnL>
                    <a:lnR w="6350" cap="flat" cmpd="sng" algn="ctr">
                      <a:noFill/>
                      <a:prstDash val="solid"/>
                    </a:lnR>
                    <a:lnT w="6350" cap="flat" cmpd="sng" algn="ctr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tabLst>
                          <a:tab pos="3978910" algn="l"/>
                        </a:tabLst>
                      </a:pPr>
                      <a:r>
                        <a:rPr lang="fr-FR" sz="1500" cap="none" spc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La comptabilisation – Les documents comptables – Les normes internationales =&gt; </a:t>
                      </a:r>
                      <a:r>
                        <a:rPr lang="fr-FR" sz="1500" cap="none" spc="0" dirty="0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après le bilan</a:t>
                      </a:r>
                    </a:p>
                  </a:txBody>
                  <a:tcPr marL="123949" marR="71509" marT="95345" marB="95345">
                    <a:lnL w="6350" cap="flat" cmpd="sng" algn="ctr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6350" cap="flat" cmpd="sng" algn="ctr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71204828"/>
                  </a:ext>
                </a:extLst>
              </a:tr>
              <a:tr h="451301">
                <a:tc>
                  <a:txBody>
                    <a:bodyPr/>
                    <a:lstStyle/>
                    <a:p>
                      <a:pPr>
                        <a:tabLst>
                          <a:tab pos="3978910" algn="l"/>
                        </a:tabLst>
                      </a:pPr>
                      <a:r>
                        <a:rPr lang="fr-FR" sz="1500" cap="none" spc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7-8</a:t>
                      </a:r>
                      <a:endParaRPr lang="fr-FR" sz="1500" cap="none" spc="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123949" marR="71509" marT="95345" marB="95345" anchor="ctr">
                    <a:lnL w="38100" cap="flat" cmpd="sng" algn="ctr">
                      <a:noFill/>
                      <a:prstDash val="soli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</a:lnR>
                    <a:lnT w="12700" cmpd="sng">
                      <a:noFill/>
                      <a:prstDash val="solid"/>
                    </a:lnT>
                    <a:lnB w="6350" cap="flat" cmpd="sng" algn="ctr">
                      <a:noFill/>
                      <a:prstDash val="solid"/>
                    </a:lnB>
                    <a:solidFill>
                      <a:srgbClr val="F2F2F2">
                        <a:alpha val="3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tabLst>
                          <a:tab pos="3978910" algn="l"/>
                        </a:tabLst>
                      </a:pPr>
                      <a:r>
                        <a:rPr lang="fr-FR" sz="1500" cap="none" spc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Le compte de résultat - Analyse</a:t>
                      </a:r>
                    </a:p>
                  </a:txBody>
                  <a:tcPr marL="123949" marR="71509" marT="95345" marB="95345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</a:lnL>
                    <a:lnR w="38100" cap="flat" cmpd="sng" algn="ctr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6350" cap="flat" cmpd="sng" algn="ctr">
                      <a:noFill/>
                      <a:prstDash val="solid"/>
                    </a:lnB>
                    <a:solidFill>
                      <a:srgbClr val="F2F2F2">
                        <a:alpha val="30196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07725469"/>
                  </a:ext>
                </a:extLst>
              </a:tr>
              <a:tr h="451301">
                <a:tc>
                  <a:txBody>
                    <a:bodyPr/>
                    <a:lstStyle/>
                    <a:p>
                      <a:pPr>
                        <a:tabLst>
                          <a:tab pos="3978910" algn="l"/>
                        </a:tabLst>
                      </a:pPr>
                      <a:r>
                        <a:rPr lang="fr-FR" sz="1500" cap="none" spc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9-10</a:t>
                      </a:r>
                      <a:endParaRPr lang="fr-FR" sz="1500" cap="none" spc="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123949" marR="71509" marT="95345" marB="95345" anchor="ctr">
                    <a:lnL w="6350" cap="flat" cmpd="sng" algn="ctr">
                      <a:noFill/>
                      <a:prstDash val="solid"/>
                    </a:lnL>
                    <a:lnR w="6350" cap="flat" cmpd="sng" algn="ctr">
                      <a:noFill/>
                      <a:prstDash val="solid"/>
                    </a:lnR>
                    <a:lnT w="6350" cap="flat" cmpd="sng" algn="ctr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tabLst>
                          <a:tab pos="3978910" algn="l"/>
                        </a:tabLst>
                      </a:pPr>
                      <a:r>
                        <a:rPr lang="fr-FR" sz="1500" cap="none" spc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Le bilan – Analyse </a:t>
                      </a:r>
                    </a:p>
                  </a:txBody>
                  <a:tcPr marL="123949" marR="71509" marT="95345" marB="95345">
                    <a:lnL w="6350" cap="flat" cmpd="sng" algn="ctr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6350" cap="flat" cmpd="sng" algn="ctr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6166339"/>
                  </a:ext>
                </a:extLst>
              </a:tr>
              <a:tr h="451301">
                <a:tc>
                  <a:txBody>
                    <a:bodyPr/>
                    <a:lstStyle/>
                    <a:p>
                      <a:pPr>
                        <a:tabLst>
                          <a:tab pos="3978910" algn="l"/>
                        </a:tabLst>
                      </a:pPr>
                      <a:r>
                        <a:rPr lang="fr-FR" sz="1500" cap="none" spc="0" dirty="0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11-12</a:t>
                      </a:r>
                      <a:endParaRPr lang="fr-FR" sz="1500" cap="none" spc="0" dirty="0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123949" marR="71509" marT="95345" marB="95345" anchor="ctr">
                    <a:lnL w="38100" cap="flat" cmpd="sng" algn="ctr">
                      <a:noFill/>
                      <a:prstDash val="soli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</a:lnR>
                    <a:lnT w="12700" cmpd="sng">
                      <a:noFill/>
                      <a:prstDash val="solid"/>
                    </a:lnT>
                    <a:lnB w="6350" cap="flat" cmpd="sng" algn="ctr">
                      <a:noFill/>
                      <a:prstDash val="solid"/>
                    </a:lnB>
                    <a:solidFill>
                      <a:srgbClr val="F2F2F2">
                        <a:alpha val="3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tabLst>
                          <a:tab pos="3978910" algn="l"/>
                        </a:tabLst>
                      </a:pPr>
                      <a:r>
                        <a:rPr lang="fr-FR" sz="1500" cap="none" spc="0" dirty="0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La comptabilisation</a:t>
                      </a:r>
                      <a:endParaRPr lang="fr-FR" sz="1500" cap="none" spc="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123949" marR="71509" marT="95345" marB="95345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</a:lnL>
                    <a:lnR w="38100" cap="flat" cmpd="sng" algn="ctr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6350" cap="flat" cmpd="sng" algn="ctr">
                      <a:noFill/>
                      <a:prstDash val="solid"/>
                    </a:lnB>
                    <a:solidFill>
                      <a:srgbClr val="F2F2F2">
                        <a:alpha val="30196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15265399"/>
                  </a:ext>
                </a:extLst>
              </a:tr>
              <a:tr h="451301">
                <a:tc>
                  <a:txBody>
                    <a:bodyPr/>
                    <a:lstStyle/>
                    <a:p>
                      <a:pPr>
                        <a:tabLst>
                          <a:tab pos="3978910" algn="l"/>
                        </a:tabLst>
                      </a:pPr>
                      <a:r>
                        <a:rPr lang="fr-FR" sz="1500" cap="none" spc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13-14</a:t>
                      </a:r>
                      <a:endParaRPr lang="fr-FR" sz="1500" cap="none" spc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123949" marR="71509" marT="95345" marB="95345" anchor="ctr">
                    <a:lnL w="6350" cap="flat" cmpd="sng" algn="ctr">
                      <a:noFill/>
                      <a:prstDash val="solid"/>
                    </a:lnL>
                    <a:lnR w="6350" cap="flat" cmpd="sng" algn="ctr">
                      <a:noFill/>
                      <a:prstDash val="solid"/>
                    </a:lnR>
                    <a:lnT w="6350" cap="flat" cmpd="sng" algn="ctr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tabLst>
                          <a:tab pos="3978910" algn="l"/>
                        </a:tabLst>
                      </a:pPr>
                      <a:r>
                        <a:rPr lang="fr-FR" sz="1500" cap="none" spc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Le bilan – Le passif – les capitaux propres – Les provisions - Les immobilisations – IFRS 16</a:t>
                      </a:r>
                    </a:p>
                  </a:txBody>
                  <a:tcPr marL="123949" marR="71509" marT="95345" marB="95345">
                    <a:lnL w="6350" cap="flat" cmpd="sng" algn="ctr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6350" cap="flat" cmpd="sng" algn="ctr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79858747"/>
                  </a:ext>
                </a:extLst>
              </a:tr>
              <a:tr h="451301">
                <a:tc>
                  <a:txBody>
                    <a:bodyPr/>
                    <a:lstStyle/>
                    <a:p>
                      <a:pPr>
                        <a:tabLst>
                          <a:tab pos="3978910" algn="l"/>
                        </a:tabLst>
                      </a:pPr>
                      <a:r>
                        <a:rPr lang="fr-FR" sz="1500" cap="none" spc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15-16</a:t>
                      </a:r>
                      <a:endParaRPr lang="fr-FR" sz="1500" cap="none" spc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123949" marR="71509" marT="95345" marB="95345" anchor="ctr">
                    <a:lnL w="38100" cap="flat" cmpd="sng" algn="ctr">
                      <a:noFill/>
                      <a:prstDash val="soli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</a:lnR>
                    <a:lnT w="12700" cmpd="sng">
                      <a:noFill/>
                      <a:prstDash val="solid"/>
                    </a:lnT>
                    <a:lnB w="6350" cap="flat" cmpd="sng" algn="ctr">
                      <a:noFill/>
                      <a:prstDash val="solid"/>
                    </a:lnB>
                    <a:solidFill>
                      <a:srgbClr val="F2F2F2">
                        <a:alpha val="3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tabLst>
                          <a:tab pos="3978910" algn="l"/>
                        </a:tabLst>
                      </a:pPr>
                      <a:r>
                        <a:rPr lang="fr-FR" sz="1500" cap="none" spc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 Le bilan – le passif – Dettes à LT et autres dettes </a:t>
                      </a:r>
                    </a:p>
                  </a:txBody>
                  <a:tcPr marL="123949" marR="71509" marT="95345" marB="95345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</a:lnL>
                    <a:lnR w="38100" cap="flat" cmpd="sng" algn="ctr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6350" cap="flat" cmpd="sng" algn="ctr">
                      <a:noFill/>
                      <a:prstDash val="solid"/>
                    </a:lnB>
                    <a:solidFill>
                      <a:srgbClr val="F2F2F2">
                        <a:alpha val="30196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44203615"/>
                  </a:ext>
                </a:extLst>
              </a:tr>
              <a:tr h="451301">
                <a:tc>
                  <a:txBody>
                    <a:bodyPr/>
                    <a:lstStyle/>
                    <a:p>
                      <a:pPr>
                        <a:tabLst>
                          <a:tab pos="3978910" algn="l"/>
                        </a:tabLst>
                      </a:pPr>
                      <a:r>
                        <a:rPr lang="fr-FR" sz="1500" cap="none" spc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17-18</a:t>
                      </a:r>
                      <a:endParaRPr lang="fr-FR" sz="1500" cap="none" spc="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123949" marR="71509" marT="95345" marB="95345" anchor="ctr">
                    <a:lnL w="6350" cap="flat" cmpd="sng" algn="ctr">
                      <a:noFill/>
                      <a:prstDash val="solid"/>
                    </a:lnL>
                    <a:lnR w="6350" cap="flat" cmpd="sng" algn="ctr">
                      <a:noFill/>
                      <a:prstDash val="solid"/>
                    </a:lnR>
                    <a:lnT w="6350" cap="flat" cmpd="sng" algn="ctr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tabLst>
                          <a:tab pos="3978910" algn="l"/>
                        </a:tabLst>
                      </a:pPr>
                      <a:r>
                        <a:rPr lang="fr-FR" sz="1500" cap="none" spc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Les écritures d’inventaire</a:t>
                      </a:r>
                    </a:p>
                  </a:txBody>
                  <a:tcPr marL="123949" marR="71509" marT="95345" marB="95345">
                    <a:lnL w="6350" cap="flat" cmpd="sng" algn="ctr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6350" cap="flat" cmpd="sng" algn="ctr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13093419"/>
                  </a:ext>
                </a:extLst>
              </a:tr>
              <a:tr h="451301">
                <a:tc>
                  <a:txBody>
                    <a:bodyPr/>
                    <a:lstStyle/>
                    <a:p>
                      <a:pPr>
                        <a:tabLst>
                          <a:tab pos="3978910" algn="l"/>
                        </a:tabLst>
                      </a:pPr>
                      <a:r>
                        <a:rPr lang="fr-FR" sz="1500" cap="none" spc="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19-20</a:t>
                      </a:r>
                    </a:p>
                  </a:txBody>
                  <a:tcPr marL="123949" marR="71509" marT="95345" marB="95345" anchor="ctr">
                    <a:lnL w="6350" cap="flat" cmpd="sng" algn="ctr">
                      <a:noFill/>
                      <a:prstDash val="solid"/>
                    </a:lnL>
                    <a:lnR w="6350" cap="flat" cmpd="sng" algn="ctr">
                      <a:noFill/>
                      <a:prstDash val="solid"/>
                    </a:lnR>
                    <a:lnT w="6350" cap="flat" cmpd="sng" algn="ctr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tabLst>
                          <a:tab pos="3978910" algn="l"/>
                        </a:tabLst>
                      </a:pPr>
                      <a:r>
                        <a:rPr lang="fr-FR" sz="1500" cap="none" spc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L’annexe</a:t>
                      </a:r>
                    </a:p>
                  </a:txBody>
                  <a:tcPr marL="123949" marR="71509" marT="95345" marB="95345">
                    <a:lnL w="6350" cap="flat" cmpd="sng" algn="ctr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6350" cap="flat" cmpd="sng" algn="ctr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80796521"/>
                  </a:ext>
                </a:extLst>
              </a:tr>
              <a:tr h="451301">
                <a:tc>
                  <a:txBody>
                    <a:bodyPr/>
                    <a:lstStyle/>
                    <a:p>
                      <a:pPr>
                        <a:tabLst>
                          <a:tab pos="3978910" algn="l"/>
                        </a:tabLst>
                      </a:pPr>
                      <a:r>
                        <a:rPr lang="fr-FR" sz="1500" cap="none" spc="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21-22</a:t>
                      </a:r>
                    </a:p>
                  </a:txBody>
                  <a:tcPr marL="123949" marR="71509" marT="95345" marB="95345" anchor="ctr">
                    <a:lnL w="6350" cap="flat" cmpd="sng" algn="ctr">
                      <a:noFill/>
                      <a:prstDash val="solid"/>
                    </a:lnL>
                    <a:lnR w="6350" cap="flat" cmpd="sng" algn="ctr">
                      <a:noFill/>
                      <a:prstDash val="solid"/>
                    </a:lnR>
                    <a:lnT w="6350" cap="flat" cmpd="sng" algn="ctr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tabLst>
                          <a:tab pos="3978910" algn="l"/>
                        </a:tabLst>
                      </a:pPr>
                      <a:r>
                        <a:rPr lang="fr-FR" sz="1500" cap="none" spc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Les points particuliers – La TVA – Affectation du résultat</a:t>
                      </a:r>
                    </a:p>
                    <a:p>
                      <a:pPr algn="just">
                        <a:tabLst>
                          <a:tab pos="3978910" algn="l"/>
                        </a:tabLst>
                      </a:pPr>
                      <a:endParaRPr lang="fr-FR" sz="1500" cap="none" spc="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123949" marR="71509" marT="95345" marB="95345">
                    <a:lnL w="6350" cap="flat" cmpd="sng" algn="ctr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6350" cap="flat" cmpd="sng" algn="ctr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5489115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51691404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7" name="Rectangle 16">
            <a:extLst>
              <a:ext uri="{FF2B5EF4-FFF2-40B4-BE49-F238E27FC236}">
                <a16:creationId xmlns:a16="http://schemas.microsoft.com/office/drawing/2014/main" id="{100EDD19-6802-4EC3-95CE-CFFAB042CFD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AEFCB68E-E041-4E46-A233-3C2208DA32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1671" y="365125"/>
            <a:ext cx="11102129" cy="1325563"/>
          </a:xfrm>
        </p:spPr>
        <p:txBody>
          <a:bodyPr>
            <a:normAutofit fontScale="90000"/>
          </a:bodyPr>
          <a:lstStyle/>
          <a:p>
            <a:r>
              <a:rPr lang="fr-FR" sz="5400" dirty="0"/>
              <a:t>Comptabilisation – Correction UP2 (suite) </a:t>
            </a:r>
          </a:p>
        </p:txBody>
      </p:sp>
      <p:sp>
        <p:nvSpPr>
          <p:cNvPr id="19" name="sketch line">
            <a:extLst>
              <a:ext uri="{FF2B5EF4-FFF2-40B4-BE49-F238E27FC236}">
                <a16:creationId xmlns:a16="http://schemas.microsoft.com/office/drawing/2014/main" id="{DB17E863-922E-4C26-BD64-E8FD41D2866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669036" y="1677373"/>
            <a:ext cx="10853928" cy="18288"/>
          </a:xfrm>
          <a:custGeom>
            <a:avLst/>
            <a:gdLst>
              <a:gd name="connsiteX0" fmla="*/ 0 w 10853928"/>
              <a:gd name="connsiteY0" fmla="*/ 0 h 18288"/>
              <a:gd name="connsiteX1" fmla="*/ 461292 w 10853928"/>
              <a:gd name="connsiteY1" fmla="*/ 0 h 18288"/>
              <a:gd name="connsiteX2" fmla="*/ 1139662 w 10853928"/>
              <a:gd name="connsiteY2" fmla="*/ 0 h 18288"/>
              <a:gd name="connsiteX3" fmla="*/ 1926572 w 10853928"/>
              <a:gd name="connsiteY3" fmla="*/ 0 h 18288"/>
              <a:gd name="connsiteX4" fmla="*/ 2279325 w 10853928"/>
              <a:gd name="connsiteY4" fmla="*/ 0 h 18288"/>
              <a:gd name="connsiteX5" fmla="*/ 2632078 w 10853928"/>
              <a:gd name="connsiteY5" fmla="*/ 0 h 18288"/>
              <a:gd name="connsiteX6" fmla="*/ 3527527 w 10853928"/>
              <a:gd name="connsiteY6" fmla="*/ 0 h 18288"/>
              <a:gd name="connsiteX7" fmla="*/ 4205897 w 10853928"/>
              <a:gd name="connsiteY7" fmla="*/ 0 h 18288"/>
              <a:gd name="connsiteX8" fmla="*/ 4558650 w 10853928"/>
              <a:gd name="connsiteY8" fmla="*/ 0 h 18288"/>
              <a:gd name="connsiteX9" fmla="*/ 5237020 w 10853928"/>
              <a:gd name="connsiteY9" fmla="*/ 0 h 18288"/>
              <a:gd name="connsiteX10" fmla="*/ 6132469 w 10853928"/>
              <a:gd name="connsiteY10" fmla="*/ 0 h 18288"/>
              <a:gd name="connsiteX11" fmla="*/ 6702301 w 10853928"/>
              <a:gd name="connsiteY11" fmla="*/ 0 h 18288"/>
              <a:gd name="connsiteX12" fmla="*/ 7272132 w 10853928"/>
              <a:gd name="connsiteY12" fmla="*/ 0 h 18288"/>
              <a:gd name="connsiteX13" fmla="*/ 7950502 w 10853928"/>
              <a:gd name="connsiteY13" fmla="*/ 0 h 18288"/>
              <a:gd name="connsiteX14" fmla="*/ 8737412 w 10853928"/>
              <a:gd name="connsiteY14" fmla="*/ 0 h 18288"/>
              <a:gd name="connsiteX15" fmla="*/ 9524322 w 10853928"/>
              <a:gd name="connsiteY15" fmla="*/ 0 h 18288"/>
              <a:gd name="connsiteX16" fmla="*/ 10853928 w 10853928"/>
              <a:gd name="connsiteY16" fmla="*/ 0 h 18288"/>
              <a:gd name="connsiteX17" fmla="*/ 10853928 w 10853928"/>
              <a:gd name="connsiteY17" fmla="*/ 18288 h 18288"/>
              <a:gd name="connsiteX18" fmla="*/ 10392636 w 10853928"/>
              <a:gd name="connsiteY18" fmla="*/ 18288 h 18288"/>
              <a:gd name="connsiteX19" fmla="*/ 9497187 w 10853928"/>
              <a:gd name="connsiteY19" fmla="*/ 18288 h 18288"/>
              <a:gd name="connsiteX20" fmla="*/ 8818817 w 10853928"/>
              <a:gd name="connsiteY20" fmla="*/ 18288 h 18288"/>
              <a:gd name="connsiteX21" fmla="*/ 8466064 w 10853928"/>
              <a:gd name="connsiteY21" fmla="*/ 18288 h 18288"/>
              <a:gd name="connsiteX22" fmla="*/ 7787693 w 10853928"/>
              <a:gd name="connsiteY22" fmla="*/ 18288 h 18288"/>
              <a:gd name="connsiteX23" fmla="*/ 7217862 w 10853928"/>
              <a:gd name="connsiteY23" fmla="*/ 18288 h 18288"/>
              <a:gd name="connsiteX24" fmla="*/ 6648031 w 10853928"/>
              <a:gd name="connsiteY24" fmla="*/ 18288 h 18288"/>
              <a:gd name="connsiteX25" fmla="*/ 6078200 w 10853928"/>
              <a:gd name="connsiteY25" fmla="*/ 18288 h 18288"/>
              <a:gd name="connsiteX26" fmla="*/ 5508368 w 10853928"/>
              <a:gd name="connsiteY26" fmla="*/ 18288 h 18288"/>
              <a:gd name="connsiteX27" fmla="*/ 4721459 w 10853928"/>
              <a:gd name="connsiteY27" fmla="*/ 18288 h 18288"/>
              <a:gd name="connsiteX28" fmla="*/ 4043088 w 10853928"/>
              <a:gd name="connsiteY28" fmla="*/ 18288 h 18288"/>
              <a:gd name="connsiteX29" fmla="*/ 3690336 w 10853928"/>
              <a:gd name="connsiteY29" fmla="*/ 18288 h 18288"/>
              <a:gd name="connsiteX30" fmla="*/ 3120504 w 10853928"/>
              <a:gd name="connsiteY30" fmla="*/ 18288 h 18288"/>
              <a:gd name="connsiteX31" fmla="*/ 2333595 w 10853928"/>
              <a:gd name="connsiteY31" fmla="*/ 18288 h 18288"/>
              <a:gd name="connsiteX32" fmla="*/ 1872303 w 10853928"/>
              <a:gd name="connsiteY32" fmla="*/ 18288 h 18288"/>
              <a:gd name="connsiteX33" fmla="*/ 976854 w 10853928"/>
              <a:gd name="connsiteY33" fmla="*/ 18288 h 18288"/>
              <a:gd name="connsiteX34" fmla="*/ 0 w 10853928"/>
              <a:gd name="connsiteY34" fmla="*/ 18288 h 18288"/>
              <a:gd name="connsiteX35" fmla="*/ 0 w 10853928"/>
              <a:gd name="connsiteY35" fmla="*/ 0 h 182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</a:cxnLst>
            <a:rect l="l" t="t" r="r" b="b"/>
            <a:pathLst>
              <a:path w="10853928" h="18288" fill="none" extrusionOk="0">
                <a:moveTo>
                  <a:pt x="0" y="0"/>
                </a:moveTo>
                <a:cubicBezTo>
                  <a:pt x="146993" y="-19076"/>
                  <a:pt x="347684" y="-4790"/>
                  <a:pt x="461292" y="0"/>
                </a:cubicBezTo>
                <a:cubicBezTo>
                  <a:pt x="574900" y="4790"/>
                  <a:pt x="808367" y="19821"/>
                  <a:pt x="1139662" y="0"/>
                </a:cubicBezTo>
                <a:cubicBezTo>
                  <a:pt x="1470957" y="-19821"/>
                  <a:pt x="1627405" y="5721"/>
                  <a:pt x="1926572" y="0"/>
                </a:cubicBezTo>
                <a:cubicBezTo>
                  <a:pt x="2225739" y="-5721"/>
                  <a:pt x="2137730" y="-3235"/>
                  <a:pt x="2279325" y="0"/>
                </a:cubicBezTo>
                <a:cubicBezTo>
                  <a:pt x="2420920" y="3235"/>
                  <a:pt x="2456518" y="9685"/>
                  <a:pt x="2632078" y="0"/>
                </a:cubicBezTo>
                <a:cubicBezTo>
                  <a:pt x="2807638" y="-9685"/>
                  <a:pt x="3211516" y="-43007"/>
                  <a:pt x="3527527" y="0"/>
                </a:cubicBezTo>
                <a:cubicBezTo>
                  <a:pt x="3843538" y="43007"/>
                  <a:pt x="4058833" y="22042"/>
                  <a:pt x="4205897" y="0"/>
                </a:cubicBezTo>
                <a:cubicBezTo>
                  <a:pt x="4352961" y="-22042"/>
                  <a:pt x="4474805" y="-11846"/>
                  <a:pt x="4558650" y="0"/>
                </a:cubicBezTo>
                <a:cubicBezTo>
                  <a:pt x="4642495" y="11846"/>
                  <a:pt x="5041928" y="-6069"/>
                  <a:pt x="5237020" y="0"/>
                </a:cubicBezTo>
                <a:cubicBezTo>
                  <a:pt x="5432112" y="6069"/>
                  <a:pt x="5943266" y="-17479"/>
                  <a:pt x="6132469" y="0"/>
                </a:cubicBezTo>
                <a:cubicBezTo>
                  <a:pt x="6321672" y="17479"/>
                  <a:pt x="6483872" y="26234"/>
                  <a:pt x="6702301" y="0"/>
                </a:cubicBezTo>
                <a:cubicBezTo>
                  <a:pt x="6920730" y="-26234"/>
                  <a:pt x="6991194" y="-15156"/>
                  <a:pt x="7272132" y="0"/>
                </a:cubicBezTo>
                <a:cubicBezTo>
                  <a:pt x="7553070" y="15156"/>
                  <a:pt x="7684444" y="-32961"/>
                  <a:pt x="7950502" y="0"/>
                </a:cubicBezTo>
                <a:cubicBezTo>
                  <a:pt x="8216560" y="32961"/>
                  <a:pt x="8493290" y="-10491"/>
                  <a:pt x="8737412" y="0"/>
                </a:cubicBezTo>
                <a:cubicBezTo>
                  <a:pt x="8981534" y="10491"/>
                  <a:pt x="9191586" y="-13899"/>
                  <a:pt x="9524322" y="0"/>
                </a:cubicBezTo>
                <a:cubicBezTo>
                  <a:pt x="9857058" y="13899"/>
                  <a:pt x="10297509" y="7485"/>
                  <a:pt x="10853928" y="0"/>
                </a:cubicBezTo>
                <a:cubicBezTo>
                  <a:pt x="10854574" y="4451"/>
                  <a:pt x="10854418" y="9226"/>
                  <a:pt x="10853928" y="18288"/>
                </a:cubicBezTo>
                <a:cubicBezTo>
                  <a:pt x="10691638" y="28522"/>
                  <a:pt x="10574319" y="29578"/>
                  <a:pt x="10392636" y="18288"/>
                </a:cubicBezTo>
                <a:cubicBezTo>
                  <a:pt x="10210953" y="6998"/>
                  <a:pt x="9836277" y="-16742"/>
                  <a:pt x="9497187" y="18288"/>
                </a:cubicBezTo>
                <a:cubicBezTo>
                  <a:pt x="9158097" y="53318"/>
                  <a:pt x="9119479" y="30714"/>
                  <a:pt x="8818817" y="18288"/>
                </a:cubicBezTo>
                <a:cubicBezTo>
                  <a:pt x="8518155" y="5863"/>
                  <a:pt x="8640037" y="6483"/>
                  <a:pt x="8466064" y="18288"/>
                </a:cubicBezTo>
                <a:cubicBezTo>
                  <a:pt x="8292091" y="30093"/>
                  <a:pt x="7997656" y="18914"/>
                  <a:pt x="7787693" y="18288"/>
                </a:cubicBezTo>
                <a:cubicBezTo>
                  <a:pt x="7577730" y="17662"/>
                  <a:pt x="7412468" y="21416"/>
                  <a:pt x="7217862" y="18288"/>
                </a:cubicBezTo>
                <a:cubicBezTo>
                  <a:pt x="7023256" y="15160"/>
                  <a:pt x="6898018" y="14824"/>
                  <a:pt x="6648031" y="18288"/>
                </a:cubicBezTo>
                <a:cubicBezTo>
                  <a:pt x="6398044" y="21752"/>
                  <a:pt x="6254402" y="38625"/>
                  <a:pt x="6078200" y="18288"/>
                </a:cubicBezTo>
                <a:cubicBezTo>
                  <a:pt x="5901998" y="-2049"/>
                  <a:pt x="5622886" y="3213"/>
                  <a:pt x="5508368" y="18288"/>
                </a:cubicBezTo>
                <a:cubicBezTo>
                  <a:pt x="5393850" y="33363"/>
                  <a:pt x="5036260" y="26830"/>
                  <a:pt x="4721459" y="18288"/>
                </a:cubicBezTo>
                <a:cubicBezTo>
                  <a:pt x="4406658" y="9746"/>
                  <a:pt x="4239221" y="41551"/>
                  <a:pt x="4043088" y="18288"/>
                </a:cubicBezTo>
                <a:cubicBezTo>
                  <a:pt x="3846955" y="-4975"/>
                  <a:pt x="3818802" y="34658"/>
                  <a:pt x="3690336" y="18288"/>
                </a:cubicBezTo>
                <a:cubicBezTo>
                  <a:pt x="3561870" y="1918"/>
                  <a:pt x="3265491" y="42194"/>
                  <a:pt x="3120504" y="18288"/>
                </a:cubicBezTo>
                <a:cubicBezTo>
                  <a:pt x="2975517" y="-5618"/>
                  <a:pt x="2720254" y="36673"/>
                  <a:pt x="2333595" y="18288"/>
                </a:cubicBezTo>
                <a:cubicBezTo>
                  <a:pt x="1946936" y="-97"/>
                  <a:pt x="2097241" y="5776"/>
                  <a:pt x="1872303" y="18288"/>
                </a:cubicBezTo>
                <a:cubicBezTo>
                  <a:pt x="1647365" y="30800"/>
                  <a:pt x="1282708" y="45380"/>
                  <a:pt x="976854" y="18288"/>
                </a:cubicBezTo>
                <a:cubicBezTo>
                  <a:pt x="671000" y="-8804"/>
                  <a:pt x="408401" y="-12775"/>
                  <a:pt x="0" y="18288"/>
                </a:cubicBezTo>
                <a:cubicBezTo>
                  <a:pt x="-213" y="9468"/>
                  <a:pt x="187" y="4459"/>
                  <a:pt x="0" y="0"/>
                </a:cubicBezTo>
                <a:close/>
              </a:path>
              <a:path w="10853928" h="18288" stroke="0" extrusionOk="0">
                <a:moveTo>
                  <a:pt x="0" y="0"/>
                </a:moveTo>
                <a:cubicBezTo>
                  <a:pt x="267322" y="15284"/>
                  <a:pt x="415388" y="-21048"/>
                  <a:pt x="569831" y="0"/>
                </a:cubicBezTo>
                <a:cubicBezTo>
                  <a:pt x="724274" y="21048"/>
                  <a:pt x="769333" y="-2353"/>
                  <a:pt x="922584" y="0"/>
                </a:cubicBezTo>
                <a:cubicBezTo>
                  <a:pt x="1075835" y="2353"/>
                  <a:pt x="1399490" y="-145"/>
                  <a:pt x="1818033" y="0"/>
                </a:cubicBezTo>
                <a:cubicBezTo>
                  <a:pt x="2236576" y="145"/>
                  <a:pt x="2145330" y="5482"/>
                  <a:pt x="2387864" y="0"/>
                </a:cubicBezTo>
                <a:cubicBezTo>
                  <a:pt x="2630398" y="-5482"/>
                  <a:pt x="2793207" y="18487"/>
                  <a:pt x="2957695" y="0"/>
                </a:cubicBezTo>
                <a:cubicBezTo>
                  <a:pt x="3122183" y="-18487"/>
                  <a:pt x="3579141" y="19003"/>
                  <a:pt x="3853144" y="0"/>
                </a:cubicBezTo>
                <a:cubicBezTo>
                  <a:pt x="4127147" y="-19003"/>
                  <a:pt x="4209857" y="12211"/>
                  <a:pt x="4314436" y="0"/>
                </a:cubicBezTo>
                <a:cubicBezTo>
                  <a:pt x="4419015" y="-12211"/>
                  <a:pt x="4762459" y="-17220"/>
                  <a:pt x="5209885" y="0"/>
                </a:cubicBezTo>
                <a:cubicBezTo>
                  <a:pt x="5657311" y="17220"/>
                  <a:pt x="5692663" y="-3290"/>
                  <a:pt x="6105335" y="0"/>
                </a:cubicBezTo>
                <a:cubicBezTo>
                  <a:pt x="6518007" y="3290"/>
                  <a:pt x="6455516" y="-5124"/>
                  <a:pt x="6783705" y="0"/>
                </a:cubicBezTo>
                <a:cubicBezTo>
                  <a:pt x="7111894" y="5124"/>
                  <a:pt x="7441941" y="-17829"/>
                  <a:pt x="7679154" y="0"/>
                </a:cubicBezTo>
                <a:cubicBezTo>
                  <a:pt x="7916367" y="17829"/>
                  <a:pt x="8102967" y="-24363"/>
                  <a:pt x="8248985" y="0"/>
                </a:cubicBezTo>
                <a:cubicBezTo>
                  <a:pt x="8395003" y="24363"/>
                  <a:pt x="8552393" y="25505"/>
                  <a:pt x="8818817" y="0"/>
                </a:cubicBezTo>
                <a:cubicBezTo>
                  <a:pt x="9085241" y="-25505"/>
                  <a:pt x="9411308" y="38000"/>
                  <a:pt x="9605726" y="0"/>
                </a:cubicBezTo>
                <a:cubicBezTo>
                  <a:pt x="9800144" y="-38000"/>
                  <a:pt x="10006468" y="-25741"/>
                  <a:pt x="10175558" y="0"/>
                </a:cubicBezTo>
                <a:cubicBezTo>
                  <a:pt x="10344648" y="25741"/>
                  <a:pt x="10696282" y="695"/>
                  <a:pt x="10853928" y="0"/>
                </a:cubicBezTo>
                <a:cubicBezTo>
                  <a:pt x="10853521" y="8690"/>
                  <a:pt x="10853774" y="14141"/>
                  <a:pt x="10853928" y="18288"/>
                </a:cubicBezTo>
                <a:cubicBezTo>
                  <a:pt x="10608124" y="24255"/>
                  <a:pt x="10343415" y="22307"/>
                  <a:pt x="10067018" y="18288"/>
                </a:cubicBezTo>
                <a:cubicBezTo>
                  <a:pt x="9790621" y="14270"/>
                  <a:pt x="9843266" y="3564"/>
                  <a:pt x="9714266" y="18288"/>
                </a:cubicBezTo>
                <a:cubicBezTo>
                  <a:pt x="9585266" y="33012"/>
                  <a:pt x="9379484" y="1875"/>
                  <a:pt x="9252974" y="18288"/>
                </a:cubicBezTo>
                <a:cubicBezTo>
                  <a:pt x="9126464" y="34701"/>
                  <a:pt x="8580678" y="-4904"/>
                  <a:pt x="8357525" y="18288"/>
                </a:cubicBezTo>
                <a:cubicBezTo>
                  <a:pt x="8134372" y="41480"/>
                  <a:pt x="7903199" y="26458"/>
                  <a:pt x="7679154" y="18288"/>
                </a:cubicBezTo>
                <a:cubicBezTo>
                  <a:pt x="7455109" y="10118"/>
                  <a:pt x="7435944" y="27109"/>
                  <a:pt x="7217862" y="18288"/>
                </a:cubicBezTo>
                <a:cubicBezTo>
                  <a:pt x="6999780" y="9467"/>
                  <a:pt x="6680409" y="18985"/>
                  <a:pt x="6539492" y="18288"/>
                </a:cubicBezTo>
                <a:cubicBezTo>
                  <a:pt x="6398575" y="17592"/>
                  <a:pt x="6312077" y="33018"/>
                  <a:pt x="6186739" y="18288"/>
                </a:cubicBezTo>
                <a:cubicBezTo>
                  <a:pt x="6061401" y="3558"/>
                  <a:pt x="5947033" y="12075"/>
                  <a:pt x="5833986" y="18288"/>
                </a:cubicBezTo>
                <a:cubicBezTo>
                  <a:pt x="5720939" y="24501"/>
                  <a:pt x="5482226" y="8586"/>
                  <a:pt x="5155616" y="18288"/>
                </a:cubicBezTo>
                <a:cubicBezTo>
                  <a:pt x="4829006" y="27991"/>
                  <a:pt x="4841274" y="29316"/>
                  <a:pt x="4694324" y="18288"/>
                </a:cubicBezTo>
                <a:cubicBezTo>
                  <a:pt x="4547374" y="7260"/>
                  <a:pt x="4077675" y="7013"/>
                  <a:pt x="3907414" y="18288"/>
                </a:cubicBezTo>
                <a:cubicBezTo>
                  <a:pt x="3737153" y="29564"/>
                  <a:pt x="3538393" y="21630"/>
                  <a:pt x="3446122" y="18288"/>
                </a:cubicBezTo>
                <a:cubicBezTo>
                  <a:pt x="3353851" y="14946"/>
                  <a:pt x="2990320" y="-8091"/>
                  <a:pt x="2659212" y="18288"/>
                </a:cubicBezTo>
                <a:cubicBezTo>
                  <a:pt x="2328104" y="44667"/>
                  <a:pt x="2427653" y="9607"/>
                  <a:pt x="2306460" y="18288"/>
                </a:cubicBezTo>
                <a:cubicBezTo>
                  <a:pt x="2185267" y="26969"/>
                  <a:pt x="1719763" y="3717"/>
                  <a:pt x="1519550" y="18288"/>
                </a:cubicBezTo>
                <a:cubicBezTo>
                  <a:pt x="1319337" y="32860"/>
                  <a:pt x="1167371" y="17040"/>
                  <a:pt x="1058258" y="18288"/>
                </a:cubicBezTo>
                <a:cubicBezTo>
                  <a:pt x="949145" y="19536"/>
                  <a:pt x="780234" y="31447"/>
                  <a:pt x="705505" y="18288"/>
                </a:cubicBezTo>
                <a:cubicBezTo>
                  <a:pt x="630776" y="5129"/>
                  <a:pt x="215796" y="30056"/>
                  <a:pt x="0" y="18288"/>
                </a:cubicBezTo>
                <a:cubicBezTo>
                  <a:pt x="-53" y="11301"/>
                  <a:pt x="-649" y="7756"/>
                  <a:pt x="0" y="0"/>
                </a:cubicBezTo>
                <a:close/>
              </a:path>
            </a:pathLst>
          </a:custGeom>
          <a:solidFill>
            <a:schemeClr val="accent2"/>
          </a:solidFill>
          <a:ln w="41275" cap="rnd">
            <a:solidFill>
              <a:schemeClr val="accent2"/>
            </a:solidFill>
            <a:round/>
            <a:extLst>
              <a:ext uri="{C807C97D-BFC1-408E-A445-0C87EB9F89A2}">
                <ask:lineSketchStyleProps xmlns:ask="http://schemas.microsoft.com/office/drawing/2018/sketchyshapes" sd="1219033472">
                  <a:prstGeom prst="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9FA71A85-160A-4CFF-9241-BA71D421B86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51671" y="1690688"/>
            <a:ext cx="11652308" cy="4872318"/>
          </a:xfrm>
        </p:spPr>
        <p:txBody>
          <a:bodyPr>
            <a:normAutofit fontScale="85000" lnSpcReduction="20000"/>
          </a:bodyPr>
          <a:lstStyle/>
          <a:p>
            <a:pPr marL="0" indent="0">
              <a:buNone/>
            </a:pPr>
            <a:r>
              <a:rPr lang="fr-FR" sz="15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 </a:t>
            </a:r>
          </a:p>
          <a:p>
            <a:pPr algn="just"/>
            <a:r>
              <a:rPr lang="fr-FR" sz="1800" b="1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Ex 6) </a:t>
            </a:r>
            <a:r>
              <a:rPr lang="fr-FR" sz="18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L’entreprise verse le montant de la caisse sur son compte en banque (5 000 €)</a:t>
            </a:r>
          </a:p>
          <a:p>
            <a:pPr algn="just"/>
            <a:r>
              <a:rPr lang="fr-FR" sz="18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	- Dans ce cas, le compte caisse augmente ou diminue ? =&gt; Il </a:t>
            </a:r>
            <a:r>
              <a:rPr lang="fr-FR" sz="1800" dirty="0">
                <a:solidFill>
                  <a:srgbClr val="FF0000"/>
                </a:solidFill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diminue</a:t>
            </a:r>
            <a:endParaRPr lang="fr-FR" sz="1800" dirty="0">
              <a:effectLst/>
              <a:latin typeface="Verdana" panose="020B060403050404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just"/>
            <a:r>
              <a:rPr lang="fr-FR" sz="18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	- Dans ce cas, le compte banque augmente ou diminue ? =&gt; Il</a:t>
            </a:r>
            <a:r>
              <a:rPr lang="fr-FR" sz="1800" dirty="0">
                <a:solidFill>
                  <a:srgbClr val="FF0000"/>
                </a:solidFill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augmente</a:t>
            </a:r>
            <a:endParaRPr lang="fr-FR" sz="1800" dirty="0">
              <a:effectLst/>
              <a:latin typeface="Verdana" panose="020B060403050404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just"/>
            <a:r>
              <a:rPr lang="fr-FR" sz="18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 </a:t>
            </a:r>
          </a:p>
          <a:p>
            <a:pPr algn="just"/>
            <a:r>
              <a:rPr lang="fr-FR" sz="1800" b="1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Ex 7) </a:t>
            </a:r>
            <a:r>
              <a:rPr lang="fr-FR" sz="18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L’entreprise sort du liquide, de son compte en banque, et le met en caisse (25 000 €)</a:t>
            </a:r>
          </a:p>
          <a:p>
            <a:pPr algn="just"/>
            <a:r>
              <a:rPr lang="fr-FR" sz="18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	- Dans ce cas, le compte caisse augmente ou diminue ? =&gt; Il </a:t>
            </a:r>
            <a:r>
              <a:rPr lang="fr-FR" sz="1800" dirty="0">
                <a:solidFill>
                  <a:srgbClr val="FF0000"/>
                </a:solidFill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augmente</a:t>
            </a:r>
            <a:endParaRPr lang="fr-FR" sz="1800" dirty="0">
              <a:effectLst/>
              <a:latin typeface="Verdana" panose="020B060403050404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just"/>
            <a:r>
              <a:rPr lang="fr-FR" sz="18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	- Dans ce cas, le compte banque augmente ou diminue ? =&gt; Il</a:t>
            </a:r>
            <a:r>
              <a:rPr lang="fr-FR" sz="1800" dirty="0">
                <a:solidFill>
                  <a:srgbClr val="FF0000"/>
                </a:solidFill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diminue</a:t>
            </a:r>
            <a:endParaRPr lang="fr-FR" sz="1800" dirty="0">
              <a:effectLst/>
              <a:latin typeface="Verdana" panose="020B060403050404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just"/>
            <a:r>
              <a:rPr lang="fr-FR" sz="18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 </a:t>
            </a:r>
          </a:p>
          <a:p>
            <a:pPr algn="just"/>
            <a:r>
              <a:rPr lang="fr-FR" sz="1800" b="1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Ex 8) </a:t>
            </a:r>
            <a:r>
              <a:rPr lang="fr-FR" sz="18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L’entreprise règle par chèque une dette envers un fournisseur à qui elle devait 15 000 € </a:t>
            </a:r>
          </a:p>
          <a:p>
            <a:pPr algn="just"/>
            <a:r>
              <a:rPr lang="fr-FR" sz="18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	- Dans ce cas, le compte fournisseurs augmente ou diminue ? =&gt; Il </a:t>
            </a:r>
            <a:r>
              <a:rPr lang="fr-FR" sz="1800" dirty="0">
                <a:solidFill>
                  <a:srgbClr val="FF0000"/>
                </a:solidFill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diminue</a:t>
            </a:r>
            <a:endParaRPr lang="fr-FR" sz="1800" dirty="0">
              <a:effectLst/>
              <a:latin typeface="Verdana" panose="020B060403050404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just"/>
            <a:r>
              <a:rPr lang="fr-FR" sz="18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	- Dans ce cas, le compte banque augmente ou diminue ? =&gt; Il</a:t>
            </a:r>
            <a:r>
              <a:rPr lang="fr-FR" sz="1800" dirty="0">
                <a:solidFill>
                  <a:srgbClr val="FF0000"/>
                </a:solidFill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diminue</a:t>
            </a:r>
            <a:endParaRPr lang="fr-FR" sz="1800" dirty="0">
              <a:effectLst/>
              <a:latin typeface="Verdana" panose="020B060403050404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just"/>
            <a:r>
              <a:rPr lang="fr-FR" sz="1800" dirty="0">
                <a:solidFill>
                  <a:srgbClr val="FF0000"/>
                </a:solidFill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                                 </a:t>
            </a:r>
            <a:endParaRPr lang="fr-FR" sz="1800" dirty="0">
              <a:effectLst/>
              <a:latin typeface="Verdana" panose="020B060403050404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just"/>
            <a:r>
              <a:rPr lang="fr-FR" sz="1800" b="1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Ex </a:t>
            </a:r>
            <a:r>
              <a:rPr lang="fr-FR" sz="1800" b="1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9)</a:t>
            </a:r>
            <a:r>
              <a:rPr lang="fr-FR" sz="18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Un client règle, en liquide, 3 500 € qu'il nous devait.</a:t>
            </a:r>
          </a:p>
          <a:p>
            <a:pPr algn="just"/>
            <a:r>
              <a:rPr lang="fr-FR" sz="18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	- Dans ce cas, le compte clients augmente ou diminue ? =&gt; Il </a:t>
            </a:r>
            <a:r>
              <a:rPr lang="fr-FR" sz="1800" dirty="0">
                <a:solidFill>
                  <a:srgbClr val="FF0000"/>
                </a:solidFill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diminue</a:t>
            </a:r>
            <a:endParaRPr lang="fr-FR" sz="1800" dirty="0">
              <a:effectLst/>
              <a:latin typeface="Verdana" panose="020B060403050404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just"/>
            <a:r>
              <a:rPr lang="fr-FR" sz="18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	- Dans ce cas, le compte caisse augmente ou diminue ? =&gt; Il</a:t>
            </a:r>
            <a:r>
              <a:rPr lang="fr-FR" sz="1800" dirty="0">
                <a:solidFill>
                  <a:srgbClr val="FF0000"/>
                </a:solidFill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augmente</a:t>
            </a:r>
            <a:endParaRPr lang="fr-FR" sz="1800" dirty="0">
              <a:effectLst/>
              <a:latin typeface="Verdana" panose="020B060403050404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indent="0" algn="just">
              <a:buNone/>
            </a:pPr>
            <a:endParaRPr lang="fr-FR" sz="1500" dirty="0"/>
          </a:p>
        </p:txBody>
      </p:sp>
    </p:spTree>
    <p:extLst>
      <p:ext uri="{BB962C8B-B14F-4D97-AF65-F5344CB8AC3E}">
        <p14:creationId xmlns:p14="http://schemas.microsoft.com/office/powerpoint/2010/main" val="3854511998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7" name="Rectangle 16">
            <a:extLst>
              <a:ext uri="{FF2B5EF4-FFF2-40B4-BE49-F238E27FC236}">
                <a16:creationId xmlns:a16="http://schemas.microsoft.com/office/drawing/2014/main" id="{100EDD19-6802-4EC3-95CE-CFFAB042CFD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AEFCB68E-E041-4E46-A233-3C2208DA32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1671" y="365125"/>
            <a:ext cx="11102129" cy="1325563"/>
          </a:xfrm>
        </p:spPr>
        <p:txBody>
          <a:bodyPr>
            <a:normAutofit/>
          </a:bodyPr>
          <a:lstStyle/>
          <a:p>
            <a:r>
              <a:rPr lang="fr-FR" sz="5400" dirty="0"/>
              <a:t>Comptabilisation – Méthodes </a:t>
            </a:r>
          </a:p>
        </p:txBody>
      </p:sp>
      <p:sp>
        <p:nvSpPr>
          <p:cNvPr id="19" name="sketch line">
            <a:extLst>
              <a:ext uri="{FF2B5EF4-FFF2-40B4-BE49-F238E27FC236}">
                <a16:creationId xmlns:a16="http://schemas.microsoft.com/office/drawing/2014/main" id="{DB17E863-922E-4C26-BD64-E8FD41D2866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669036" y="1677373"/>
            <a:ext cx="10853928" cy="18288"/>
          </a:xfrm>
          <a:custGeom>
            <a:avLst/>
            <a:gdLst>
              <a:gd name="connsiteX0" fmla="*/ 0 w 10853928"/>
              <a:gd name="connsiteY0" fmla="*/ 0 h 18288"/>
              <a:gd name="connsiteX1" fmla="*/ 461292 w 10853928"/>
              <a:gd name="connsiteY1" fmla="*/ 0 h 18288"/>
              <a:gd name="connsiteX2" fmla="*/ 1139662 w 10853928"/>
              <a:gd name="connsiteY2" fmla="*/ 0 h 18288"/>
              <a:gd name="connsiteX3" fmla="*/ 1926572 w 10853928"/>
              <a:gd name="connsiteY3" fmla="*/ 0 h 18288"/>
              <a:gd name="connsiteX4" fmla="*/ 2279325 w 10853928"/>
              <a:gd name="connsiteY4" fmla="*/ 0 h 18288"/>
              <a:gd name="connsiteX5" fmla="*/ 2632078 w 10853928"/>
              <a:gd name="connsiteY5" fmla="*/ 0 h 18288"/>
              <a:gd name="connsiteX6" fmla="*/ 3527527 w 10853928"/>
              <a:gd name="connsiteY6" fmla="*/ 0 h 18288"/>
              <a:gd name="connsiteX7" fmla="*/ 4205897 w 10853928"/>
              <a:gd name="connsiteY7" fmla="*/ 0 h 18288"/>
              <a:gd name="connsiteX8" fmla="*/ 4558650 w 10853928"/>
              <a:gd name="connsiteY8" fmla="*/ 0 h 18288"/>
              <a:gd name="connsiteX9" fmla="*/ 5237020 w 10853928"/>
              <a:gd name="connsiteY9" fmla="*/ 0 h 18288"/>
              <a:gd name="connsiteX10" fmla="*/ 6132469 w 10853928"/>
              <a:gd name="connsiteY10" fmla="*/ 0 h 18288"/>
              <a:gd name="connsiteX11" fmla="*/ 6702301 w 10853928"/>
              <a:gd name="connsiteY11" fmla="*/ 0 h 18288"/>
              <a:gd name="connsiteX12" fmla="*/ 7272132 w 10853928"/>
              <a:gd name="connsiteY12" fmla="*/ 0 h 18288"/>
              <a:gd name="connsiteX13" fmla="*/ 7950502 w 10853928"/>
              <a:gd name="connsiteY13" fmla="*/ 0 h 18288"/>
              <a:gd name="connsiteX14" fmla="*/ 8737412 w 10853928"/>
              <a:gd name="connsiteY14" fmla="*/ 0 h 18288"/>
              <a:gd name="connsiteX15" fmla="*/ 9524322 w 10853928"/>
              <a:gd name="connsiteY15" fmla="*/ 0 h 18288"/>
              <a:gd name="connsiteX16" fmla="*/ 10853928 w 10853928"/>
              <a:gd name="connsiteY16" fmla="*/ 0 h 18288"/>
              <a:gd name="connsiteX17" fmla="*/ 10853928 w 10853928"/>
              <a:gd name="connsiteY17" fmla="*/ 18288 h 18288"/>
              <a:gd name="connsiteX18" fmla="*/ 10392636 w 10853928"/>
              <a:gd name="connsiteY18" fmla="*/ 18288 h 18288"/>
              <a:gd name="connsiteX19" fmla="*/ 9497187 w 10853928"/>
              <a:gd name="connsiteY19" fmla="*/ 18288 h 18288"/>
              <a:gd name="connsiteX20" fmla="*/ 8818817 w 10853928"/>
              <a:gd name="connsiteY20" fmla="*/ 18288 h 18288"/>
              <a:gd name="connsiteX21" fmla="*/ 8466064 w 10853928"/>
              <a:gd name="connsiteY21" fmla="*/ 18288 h 18288"/>
              <a:gd name="connsiteX22" fmla="*/ 7787693 w 10853928"/>
              <a:gd name="connsiteY22" fmla="*/ 18288 h 18288"/>
              <a:gd name="connsiteX23" fmla="*/ 7217862 w 10853928"/>
              <a:gd name="connsiteY23" fmla="*/ 18288 h 18288"/>
              <a:gd name="connsiteX24" fmla="*/ 6648031 w 10853928"/>
              <a:gd name="connsiteY24" fmla="*/ 18288 h 18288"/>
              <a:gd name="connsiteX25" fmla="*/ 6078200 w 10853928"/>
              <a:gd name="connsiteY25" fmla="*/ 18288 h 18288"/>
              <a:gd name="connsiteX26" fmla="*/ 5508368 w 10853928"/>
              <a:gd name="connsiteY26" fmla="*/ 18288 h 18288"/>
              <a:gd name="connsiteX27" fmla="*/ 4721459 w 10853928"/>
              <a:gd name="connsiteY27" fmla="*/ 18288 h 18288"/>
              <a:gd name="connsiteX28" fmla="*/ 4043088 w 10853928"/>
              <a:gd name="connsiteY28" fmla="*/ 18288 h 18288"/>
              <a:gd name="connsiteX29" fmla="*/ 3690336 w 10853928"/>
              <a:gd name="connsiteY29" fmla="*/ 18288 h 18288"/>
              <a:gd name="connsiteX30" fmla="*/ 3120504 w 10853928"/>
              <a:gd name="connsiteY30" fmla="*/ 18288 h 18288"/>
              <a:gd name="connsiteX31" fmla="*/ 2333595 w 10853928"/>
              <a:gd name="connsiteY31" fmla="*/ 18288 h 18288"/>
              <a:gd name="connsiteX32" fmla="*/ 1872303 w 10853928"/>
              <a:gd name="connsiteY32" fmla="*/ 18288 h 18288"/>
              <a:gd name="connsiteX33" fmla="*/ 976854 w 10853928"/>
              <a:gd name="connsiteY33" fmla="*/ 18288 h 18288"/>
              <a:gd name="connsiteX34" fmla="*/ 0 w 10853928"/>
              <a:gd name="connsiteY34" fmla="*/ 18288 h 18288"/>
              <a:gd name="connsiteX35" fmla="*/ 0 w 10853928"/>
              <a:gd name="connsiteY35" fmla="*/ 0 h 182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</a:cxnLst>
            <a:rect l="l" t="t" r="r" b="b"/>
            <a:pathLst>
              <a:path w="10853928" h="18288" fill="none" extrusionOk="0">
                <a:moveTo>
                  <a:pt x="0" y="0"/>
                </a:moveTo>
                <a:cubicBezTo>
                  <a:pt x="146993" y="-19076"/>
                  <a:pt x="347684" y="-4790"/>
                  <a:pt x="461292" y="0"/>
                </a:cubicBezTo>
                <a:cubicBezTo>
                  <a:pt x="574900" y="4790"/>
                  <a:pt x="808367" y="19821"/>
                  <a:pt x="1139662" y="0"/>
                </a:cubicBezTo>
                <a:cubicBezTo>
                  <a:pt x="1470957" y="-19821"/>
                  <a:pt x="1627405" y="5721"/>
                  <a:pt x="1926572" y="0"/>
                </a:cubicBezTo>
                <a:cubicBezTo>
                  <a:pt x="2225739" y="-5721"/>
                  <a:pt x="2137730" y="-3235"/>
                  <a:pt x="2279325" y="0"/>
                </a:cubicBezTo>
                <a:cubicBezTo>
                  <a:pt x="2420920" y="3235"/>
                  <a:pt x="2456518" y="9685"/>
                  <a:pt x="2632078" y="0"/>
                </a:cubicBezTo>
                <a:cubicBezTo>
                  <a:pt x="2807638" y="-9685"/>
                  <a:pt x="3211516" y="-43007"/>
                  <a:pt x="3527527" y="0"/>
                </a:cubicBezTo>
                <a:cubicBezTo>
                  <a:pt x="3843538" y="43007"/>
                  <a:pt x="4058833" y="22042"/>
                  <a:pt x="4205897" y="0"/>
                </a:cubicBezTo>
                <a:cubicBezTo>
                  <a:pt x="4352961" y="-22042"/>
                  <a:pt x="4474805" y="-11846"/>
                  <a:pt x="4558650" y="0"/>
                </a:cubicBezTo>
                <a:cubicBezTo>
                  <a:pt x="4642495" y="11846"/>
                  <a:pt x="5041928" y="-6069"/>
                  <a:pt x="5237020" y="0"/>
                </a:cubicBezTo>
                <a:cubicBezTo>
                  <a:pt x="5432112" y="6069"/>
                  <a:pt x="5943266" y="-17479"/>
                  <a:pt x="6132469" y="0"/>
                </a:cubicBezTo>
                <a:cubicBezTo>
                  <a:pt x="6321672" y="17479"/>
                  <a:pt x="6483872" y="26234"/>
                  <a:pt x="6702301" y="0"/>
                </a:cubicBezTo>
                <a:cubicBezTo>
                  <a:pt x="6920730" y="-26234"/>
                  <a:pt x="6991194" y="-15156"/>
                  <a:pt x="7272132" y="0"/>
                </a:cubicBezTo>
                <a:cubicBezTo>
                  <a:pt x="7553070" y="15156"/>
                  <a:pt x="7684444" y="-32961"/>
                  <a:pt x="7950502" y="0"/>
                </a:cubicBezTo>
                <a:cubicBezTo>
                  <a:pt x="8216560" y="32961"/>
                  <a:pt x="8493290" y="-10491"/>
                  <a:pt x="8737412" y="0"/>
                </a:cubicBezTo>
                <a:cubicBezTo>
                  <a:pt x="8981534" y="10491"/>
                  <a:pt x="9191586" y="-13899"/>
                  <a:pt x="9524322" y="0"/>
                </a:cubicBezTo>
                <a:cubicBezTo>
                  <a:pt x="9857058" y="13899"/>
                  <a:pt x="10297509" y="7485"/>
                  <a:pt x="10853928" y="0"/>
                </a:cubicBezTo>
                <a:cubicBezTo>
                  <a:pt x="10854574" y="4451"/>
                  <a:pt x="10854418" y="9226"/>
                  <a:pt x="10853928" y="18288"/>
                </a:cubicBezTo>
                <a:cubicBezTo>
                  <a:pt x="10691638" y="28522"/>
                  <a:pt x="10574319" y="29578"/>
                  <a:pt x="10392636" y="18288"/>
                </a:cubicBezTo>
                <a:cubicBezTo>
                  <a:pt x="10210953" y="6998"/>
                  <a:pt x="9836277" y="-16742"/>
                  <a:pt x="9497187" y="18288"/>
                </a:cubicBezTo>
                <a:cubicBezTo>
                  <a:pt x="9158097" y="53318"/>
                  <a:pt x="9119479" y="30714"/>
                  <a:pt x="8818817" y="18288"/>
                </a:cubicBezTo>
                <a:cubicBezTo>
                  <a:pt x="8518155" y="5863"/>
                  <a:pt x="8640037" y="6483"/>
                  <a:pt x="8466064" y="18288"/>
                </a:cubicBezTo>
                <a:cubicBezTo>
                  <a:pt x="8292091" y="30093"/>
                  <a:pt x="7997656" y="18914"/>
                  <a:pt x="7787693" y="18288"/>
                </a:cubicBezTo>
                <a:cubicBezTo>
                  <a:pt x="7577730" y="17662"/>
                  <a:pt x="7412468" y="21416"/>
                  <a:pt x="7217862" y="18288"/>
                </a:cubicBezTo>
                <a:cubicBezTo>
                  <a:pt x="7023256" y="15160"/>
                  <a:pt x="6898018" y="14824"/>
                  <a:pt x="6648031" y="18288"/>
                </a:cubicBezTo>
                <a:cubicBezTo>
                  <a:pt x="6398044" y="21752"/>
                  <a:pt x="6254402" y="38625"/>
                  <a:pt x="6078200" y="18288"/>
                </a:cubicBezTo>
                <a:cubicBezTo>
                  <a:pt x="5901998" y="-2049"/>
                  <a:pt x="5622886" y="3213"/>
                  <a:pt x="5508368" y="18288"/>
                </a:cubicBezTo>
                <a:cubicBezTo>
                  <a:pt x="5393850" y="33363"/>
                  <a:pt x="5036260" y="26830"/>
                  <a:pt x="4721459" y="18288"/>
                </a:cubicBezTo>
                <a:cubicBezTo>
                  <a:pt x="4406658" y="9746"/>
                  <a:pt x="4239221" y="41551"/>
                  <a:pt x="4043088" y="18288"/>
                </a:cubicBezTo>
                <a:cubicBezTo>
                  <a:pt x="3846955" y="-4975"/>
                  <a:pt x="3818802" y="34658"/>
                  <a:pt x="3690336" y="18288"/>
                </a:cubicBezTo>
                <a:cubicBezTo>
                  <a:pt x="3561870" y="1918"/>
                  <a:pt x="3265491" y="42194"/>
                  <a:pt x="3120504" y="18288"/>
                </a:cubicBezTo>
                <a:cubicBezTo>
                  <a:pt x="2975517" y="-5618"/>
                  <a:pt x="2720254" y="36673"/>
                  <a:pt x="2333595" y="18288"/>
                </a:cubicBezTo>
                <a:cubicBezTo>
                  <a:pt x="1946936" y="-97"/>
                  <a:pt x="2097241" y="5776"/>
                  <a:pt x="1872303" y="18288"/>
                </a:cubicBezTo>
                <a:cubicBezTo>
                  <a:pt x="1647365" y="30800"/>
                  <a:pt x="1282708" y="45380"/>
                  <a:pt x="976854" y="18288"/>
                </a:cubicBezTo>
                <a:cubicBezTo>
                  <a:pt x="671000" y="-8804"/>
                  <a:pt x="408401" y="-12775"/>
                  <a:pt x="0" y="18288"/>
                </a:cubicBezTo>
                <a:cubicBezTo>
                  <a:pt x="-213" y="9468"/>
                  <a:pt x="187" y="4459"/>
                  <a:pt x="0" y="0"/>
                </a:cubicBezTo>
                <a:close/>
              </a:path>
              <a:path w="10853928" h="18288" stroke="0" extrusionOk="0">
                <a:moveTo>
                  <a:pt x="0" y="0"/>
                </a:moveTo>
                <a:cubicBezTo>
                  <a:pt x="267322" y="15284"/>
                  <a:pt x="415388" y="-21048"/>
                  <a:pt x="569831" y="0"/>
                </a:cubicBezTo>
                <a:cubicBezTo>
                  <a:pt x="724274" y="21048"/>
                  <a:pt x="769333" y="-2353"/>
                  <a:pt x="922584" y="0"/>
                </a:cubicBezTo>
                <a:cubicBezTo>
                  <a:pt x="1075835" y="2353"/>
                  <a:pt x="1399490" y="-145"/>
                  <a:pt x="1818033" y="0"/>
                </a:cubicBezTo>
                <a:cubicBezTo>
                  <a:pt x="2236576" y="145"/>
                  <a:pt x="2145330" y="5482"/>
                  <a:pt x="2387864" y="0"/>
                </a:cubicBezTo>
                <a:cubicBezTo>
                  <a:pt x="2630398" y="-5482"/>
                  <a:pt x="2793207" y="18487"/>
                  <a:pt x="2957695" y="0"/>
                </a:cubicBezTo>
                <a:cubicBezTo>
                  <a:pt x="3122183" y="-18487"/>
                  <a:pt x="3579141" y="19003"/>
                  <a:pt x="3853144" y="0"/>
                </a:cubicBezTo>
                <a:cubicBezTo>
                  <a:pt x="4127147" y="-19003"/>
                  <a:pt x="4209857" y="12211"/>
                  <a:pt x="4314436" y="0"/>
                </a:cubicBezTo>
                <a:cubicBezTo>
                  <a:pt x="4419015" y="-12211"/>
                  <a:pt x="4762459" y="-17220"/>
                  <a:pt x="5209885" y="0"/>
                </a:cubicBezTo>
                <a:cubicBezTo>
                  <a:pt x="5657311" y="17220"/>
                  <a:pt x="5692663" y="-3290"/>
                  <a:pt x="6105335" y="0"/>
                </a:cubicBezTo>
                <a:cubicBezTo>
                  <a:pt x="6518007" y="3290"/>
                  <a:pt x="6455516" y="-5124"/>
                  <a:pt x="6783705" y="0"/>
                </a:cubicBezTo>
                <a:cubicBezTo>
                  <a:pt x="7111894" y="5124"/>
                  <a:pt x="7441941" y="-17829"/>
                  <a:pt x="7679154" y="0"/>
                </a:cubicBezTo>
                <a:cubicBezTo>
                  <a:pt x="7916367" y="17829"/>
                  <a:pt x="8102967" y="-24363"/>
                  <a:pt x="8248985" y="0"/>
                </a:cubicBezTo>
                <a:cubicBezTo>
                  <a:pt x="8395003" y="24363"/>
                  <a:pt x="8552393" y="25505"/>
                  <a:pt x="8818817" y="0"/>
                </a:cubicBezTo>
                <a:cubicBezTo>
                  <a:pt x="9085241" y="-25505"/>
                  <a:pt x="9411308" y="38000"/>
                  <a:pt x="9605726" y="0"/>
                </a:cubicBezTo>
                <a:cubicBezTo>
                  <a:pt x="9800144" y="-38000"/>
                  <a:pt x="10006468" y="-25741"/>
                  <a:pt x="10175558" y="0"/>
                </a:cubicBezTo>
                <a:cubicBezTo>
                  <a:pt x="10344648" y="25741"/>
                  <a:pt x="10696282" y="695"/>
                  <a:pt x="10853928" y="0"/>
                </a:cubicBezTo>
                <a:cubicBezTo>
                  <a:pt x="10853521" y="8690"/>
                  <a:pt x="10853774" y="14141"/>
                  <a:pt x="10853928" y="18288"/>
                </a:cubicBezTo>
                <a:cubicBezTo>
                  <a:pt x="10608124" y="24255"/>
                  <a:pt x="10343415" y="22307"/>
                  <a:pt x="10067018" y="18288"/>
                </a:cubicBezTo>
                <a:cubicBezTo>
                  <a:pt x="9790621" y="14270"/>
                  <a:pt x="9843266" y="3564"/>
                  <a:pt x="9714266" y="18288"/>
                </a:cubicBezTo>
                <a:cubicBezTo>
                  <a:pt x="9585266" y="33012"/>
                  <a:pt x="9379484" y="1875"/>
                  <a:pt x="9252974" y="18288"/>
                </a:cubicBezTo>
                <a:cubicBezTo>
                  <a:pt x="9126464" y="34701"/>
                  <a:pt x="8580678" y="-4904"/>
                  <a:pt x="8357525" y="18288"/>
                </a:cubicBezTo>
                <a:cubicBezTo>
                  <a:pt x="8134372" y="41480"/>
                  <a:pt x="7903199" y="26458"/>
                  <a:pt x="7679154" y="18288"/>
                </a:cubicBezTo>
                <a:cubicBezTo>
                  <a:pt x="7455109" y="10118"/>
                  <a:pt x="7435944" y="27109"/>
                  <a:pt x="7217862" y="18288"/>
                </a:cubicBezTo>
                <a:cubicBezTo>
                  <a:pt x="6999780" y="9467"/>
                  <a:pt x="6680409" y="18985"/>
                  <a:pt x="6539492" y="18288"/>
                </a:cubicBezTo>
                <a:cubicBezTo>
                  <a:pt x="6398575" y="17592"/>
                  <a:pt x="6312077" y="33018"/>
                  <a:pt x="6186739" y="18288"/>
                </a:cubicBezTo>
                <a:cubicBezTo>
                  <a:pt x="6061401" y="3558"/>
                  <a:pt x="5947033" y="12075"/>
                  <a:pt x="5833986" y="18288"/>
                </a:cubicBezTo>
                <a:cubicBezTo>
                  <a:pt x="5720939" y="24501"/>
                  <a:pt x="5482226" y="8586"/>
                  <a:pt x="5155616" y="18288"/>
                </a:cubicBezTo>
                <a:cubicBezTo>
                  <a:pt x="4829006" y="27991"/>
                  <a:pt x="4841274" y="29316"/>
                  <a:pt x="4694324" y="18288"/>
                </a:cubicBezTo>
                <a:cubicBezTo>
                  <a:pt x="4547374" y="7260"/>
                  <a:pt x="4077675" y="7013"/>
                  <a:pt x="3907414" y="18288"/>
                </a:cubicBezTo>
                <a:cubicBezTo>
                  <a:pt x="3737153" y="29564"/>
                  <a:pt x="3538393" y="21630"/>
                  <a:pt x="3446122" y="18288"/>
                </a:cubicBezTo>
                <a:cubicBezTo>
                  <a:pt x="3353851" y="14946"/>
                  <a:pt x="2990320" y="-8091"/>
                  <a:pt x="2659212" y="18288"/>
                </a:cubicBezTo>
                <a:cubicBezTo>
                  <a:pt x="2328104" y="44667"/>
                  <a:pt x="2427653" y="9607"/>
                  <a:pt x="2306460" y="18288"/>
                </a:cubicBezTo>
                <a:cubicBezTo>
                  <a:pt x="2185267" y="26969"/>
                  <a:pt x="1719763" y="3717"/>
                  <a:pt x="1519550" y="18288"/>
                </a:cubicBezTo>
                <a:cubicBezTo>
                  <a:pt x="1319337" y="32860"/>
                  <a:pt x="1167371" y="17040"/>
                  <a:pt x="1058258" y="18288"/>
                </a:cubicBezTo>
                <a:cubicBezTo>
                  <a:pt x="949145" y="19536"/>
                  <a:pt x="780234" y="31447"/>
                  <a:pt x="705505" y="18288"/>
                </a:cubicBezTo>
                <a:cubicBezTo>
                  <a:pt x="630776" y="5129"/>
                  <a:pt x="215796" y="30056"/>
                  <a:pt x="0" y="18288"/>
                </a:cubicBezTo>
                <a:cubicBezTo>
                  <a:pt x="-53" y="11301"/>
                  <a:pt x="-649" y="7756"/>
                  <a:pt x="0" y="0"/>
                </a:cubicBezTo>
                <a:close/>
              </a:path>
            </a:pathLst>
          </a:custGeom>
          <a:solidFill>
            <a:schemeClr val="accent2"/>
          </a:solidFill>
          <a:ln w="41275" cap="rnd">
            <a:solidFill>
              <a:schemeClr val="accent2"/>
            </a:solidFill>
            <a:round/>
            <a:extLst>
              <a:ext uri="{C807C97D-BFC1-408E-A445-0C87EB9F89A2}">
                <ask:lineSketchStyleProps xmlns:ask="http://schemas.microsoft.com/office/drawing/2018/sketchyshapes" sd="1219033472">
                  <a:prstGeom prst="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7" name="Espace réservé du contenu 6">
            <a:extLst>
              <a:ext uri="{FF2B5EF4-FFF2-40B4-BE49-F238E27FC236}">
                <a16:creationId xmlns:a16="http://schemas.microsoft.com/office/drawing/2014/main" id="{E256D12B-7717-428E-9F1F-CEAB66B37BB8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64636299"/>
              </p:ext>
            </p:extLst>
          </p:nvPr>
        </p:nvGraphicFramePr>
        <p:xfrm>
          <a:off x="838200" y="1825625"/>
          <a:ext cx="10515600" cy="435133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2561881984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9" name="Rectangle 8">
            <a:extLst>
              <a:ext uri="{FF2B5EF4-FFF2-40B4-BE49-F238E27FC236}">
                <a16:creationId xmlns:a16="http://schemas.microsoft.com/office/drawing/2014/main" id="{E91DC736-0EF8-4F87-9146-EBF1D2EE4D3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Picture 4" descr="Graphique sur un document avec stylet">
            <a:extLst>
              <a:ext uri="{FF2B5EF4-FFF2-40B4-BE49-F238E27FC236}">
                <a16:creationId xmlns:a16="http://schemas.microsoft.com/office/drawing/2014/main" id="{040A7521-ECAB-4BBC-ADFA-3C6D881ABFA4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2066" r="13561" b="-1"/>
          <a:stretch/>
        </p:blipFill>
        <p:spPr>
          <a:xfrm>
            <a:off x="3523488" y="10"/>
            <a:ext cx="8668512" cy="6857990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097CD68E-23E3-4007-8847-CD0944C4F7B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9756601" cy="6858000"/>
          </a:xfrm>
          <a:prstGeom prst="rect">
            <a:avLst/>
          </a:prstGeom>
          <a:gradFill>
            <a:gsLst>
              <a:gs pos="58000">
                <a:schemeClr val="bg1"/>
              </a:gs>
              <a:gs pos="35000">
                <a:schemeClr val="bg1">
                  <a:alpha val="79000"/>
                </a:schemeClr>
              </a:gs>
              <a:gs pos="19000">
                <a:schemeClr val="bg1">
                  <a:alpha val="38000"/>
                </a:schemeClr>
              </a:gs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63C23A44-953E-4DCE-A2FC-7526BBD520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7980" y="1122363"/>
            <a:ext cx="8139245" cy="3204134"/>
          </a:xfr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sz="4800" dirty="0" err="1"/>
              <a:t>Méthode</a:t>
            </a:r>
            <a:r>
              <a:rPr lang="en-US" sz="4800" dirty="0"/>
              <a:t> 1 : </a:t>
            </a:r>
            <a:r>
              <a:rPr lang="en-US" sz="4800" dirty="0" err="1"/>
              <a:t>Compte</a:t>
            </a:r>
            <a:r>
              <a:rPr lang="en-US" sz="4800" dirty="0"/>
              <a:t> </a:t>
            </a:r>
            <a:r>
              <a:rPr lang="en-US" sz="4800" dirty="0" err="1"/>
              <a:t>en</a:t>
            </a:r>
            <a:r>
              <a:rPr lang="en-US" sz="4800" dirty="0"/>
              <a:t> T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AF2F604E-43BE-4DC3-B983-E071523364F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>
            <a:off x="759921" y="346791"/>
            <a:ext cx="146304" cy="704088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08C9B587-E65E-4B52-B37C-ABEBB6E8792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81029" y="4546920"/>
            <a:ext cx="3977640" cy="18288"/>
          </a:xfrm>
          <a:prstGeom prst="rect">
            <a:avLst/>
          </a:prstGeom>
          <a:solidFill>
            <a:srgbClr val="D5D5D5"/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70499838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7" name="Rectangle 16">
            <a:extLst>
              <a:ext uri="{FF2B5EF4-FFF2-40B4-BE49-F238E27FC236}">
                <a16:creationId xmlns:a16="http://schemas.microsoft.com/office/drawing/2014/main" id="{100EDD19-6802-4EC3-95CE-CFFAB042CFD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AEFCB68E-E041-4E46-A233-3C2208DA32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1671" y="365125"/>
            <a:ext cx="11102129" cy="1325563"/>
          </a:xfrm>
        </p:spPr>
        <p:txBody>
          <a:bodyPr>
            <a:normAutofit/>
          </a:bodyPr>
          <a:lstStyle/>
          <a:p>
            <a:r>
              <a:rPr lang="fr-FR" sz="5400" dirty="0"/>
              <a:t>Comptabilisation – Méthode 1 </a:t>
            </a:r>
          </a:p>
        </p:txBody>
      </p:sp>
      <p:sp>
        <p:nvSpPr>
          <p:cNvPr id="19" name="sketch line">
            <a:extLst>
              <a:ext uri="{FF2B5EF4-FFF2-40B4-BE49-F238E27FC236}">
                <a16:creationId xmlns:a16="http://schemas.microsoft.com/office/drawing/2014/main" id="{DB17E863-922E-4C26-BD64-E8FD41D2866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669036" y="1677373"/>
            <a:ext cx="10853928" cy="18288"/>
          </a:xfrm>
          <a:custGeom>
            <a:avLst/>
            <a:gdLst>
              <a:gd name="connsiteX0" fmla="*/ 0 w 10853928"/>
              <a:gd name="connsiteY0" fmla="*/ 0 h 18288"/>
              <a:gd name="connsiteX1" fmla="*/ 461292 w 10853928"/>
              <a:gd name="connsiteY1" fmla="*/ 0 h 18288"/>
              <a:gd name="connsiteX2" fmla="*/ 1139662 w 10853928"/>
              <a:gd name="connsiteY2" fmla="*/ 0 h 18288"/>
              <a:gd name="connsiteX3" fmla="*/ 1926572 w 10853928"/>
              <a:gd name="connsiteY3" fmla="*/ 0 h 18288"/>
              <a:gd name="connsiteX4" fmla="*/ 2279325 w 10853928"/>
              <a:gd name="connsiteY4" fmla="*/ 0 h 18288"/>
              <a:gd name="connsiteX5" fmla="*/ 2632078 w 10853928"/>
              <a:gd name="connsiteY5" fmla="*/ 0 h 18288"/>
              <a:gd name="connsiteX6" fmla="*/ 3527527 w 10853928"/>
              <a:gd name="connsiteY6" fmla="*/ 0 h 18288"/>
              <a:gd name="connsiteX7" fmla="*/ 4205897 w 10853928"/>
              <a:gd name="connsiteY7" fmla="*/ 0 h 18288"/>
              <a:gd name="connsiteX8" fmla="*/ 4558650 w 10853928"/>
              <a:gd name="connsiteY8" fmla="*/ 0 h 18288"/>
              <a:gd name="connsiteX9" fmla="*/ 5237020 w 10853928"/>
              <a:gd name="connsiteY9" fmla="*/ 0 h 18288"/>
              <a:gd name="connsiteX10" fmla="*/ 6132469 w 10853928"/>
              <a:gd name="connsiteY10" fmla="*/ 0 h 18288"/>
              <a:gd name="connsiteX11" fmla="*/ 6702301 w 10853928"/>
              <a:gd name="connsiteY11" fmla="*/ 0 h 18288"/>
              <a:gd name="connsiteX12" fmla="*/ 7272132 w 10853928"/>
              <a:gd name="connsiteY12" fmla="*/ 0 h 18288"/>
              <a:gd name="connsiteX13" fmla="*/ 7950502 w 10853928"/>
              <a:gd name="connsiteY13" fmla="*/ 0 h 18288"/>
              <a:gd name="connsiteX14" fmla="*/ 8737412 w 10853928"/>
              <a:gd name="connsiteY14" fmla="*/ 0 h 18288"/>
              <a:gd name="connsiteX15" fmla="*/ 9524322 w 10853928"/>
              <a:gd name="connsiteY15" fmla="*/ 0 h 18288"/>
              <a:gd name="connsiteX16" fmla="*/ 10853928 w 10853928"/>
              <a:gd name="connsiteY16" fmla="*/ 0 h 18288"/>
              <a:gd name="connsiteX17" fmla="*/ 10853928 w 10853928"/>
              <a:gd name="connsiteY17" fmla="*/ 18288 h 18288"/>
              <a:gd name="connsiteX18" fmla="*/ 10392636 w 10853928"/>
              <a:gd name="connsiteY18" fmla="*/ 18288 h 18288"/>
              <a:gd name="connsiteX19" fmla="*/ 9497187 w 10853928"/>
              <a:gd name="connsiteY19" fmla="*/ 18288 h 18288"/>
              <a:gd name="connsiteX20" fmla="*/ 8818817 w 10853928"/>
              <a:gd name="connsiteY20" fmla="*/ 18288 h 18288"/>
              <a:gd name="connsiteX21" fmla="*/ 8466064 w 10853928"/>
              <a:gd name="connsiteY21" fmla="*/ 18288 h 18288"/>
              <a:gd name="connsiteX22" fmla="*/ 7787693 w 10853928"/>
              <a:gd name="connsiteY22" fmla="*/ 18288 h 18288"/>
              <a:gd name="connsiteX23" fmla="*/ 7217862 w 10853928"/>
              <a:gd name="connsiteY23" fmla="*/ 18288 h 18288"/>
              <a:gd name="connsiteX24" fmla="*/ 6648031 w 10853928"/>
              <a:gd name="connsiteY24" fmla="*/ 18288 h 18288"/>
              <a:gd name="connsiteX25" fmla="*/ 6078200 w 10853928"/>
              <a:gd name="connsiteY25" fmla="*/ 18288 h 18288"/>
              <a:gd name="connsiteX26" fmla="*/ 5508368 w 10853928"/>
              <a:gd name="connsiteY26" fmla="*/ 18288 h 18288"/>
              <a:gd name="connsiteX27" fmla="*/ 4721459 w 10853928"/>
              <a:gd name="connsiteY27" fmla="*/ 18288 h 18288"/>
              <a:gd name="connsiteX28" fmla="*/ 4043088 w 10853928"/>
              <a:gd name="connsiteY28" fmla="*/ 18288 h 18288"/>
              <a:gd name="connsiteX29" fmla="*/ 3690336 w 10853928"/>
              <a:gd name="connsiteY29" fmla="*/ 18288 h 18288"/>
              <a:gd name="connsiteX30" fmla="*/ 3120504 w 10853928"/>
              <a:gd name="connsiteY30" fmla="*/ 18288 h 18288"/>
              <a:gd name="connsiteX31" fmla="*/ 2333595 w 10853928"/>
              <a:gd name="connsiteY31" fmla="*/ 18288 h 18288"/>
              <a:gd name="connsiteX32" fmla="*/ 1872303 w 10853928"/>
              <a:gd name="connsiteY32" fmla="*/ 18288 h 18288"/>
              <a:gd name="connsiteX33" fmla="*/ 976854 w 10853928"/>
              <a:gd name="connsiteY33" fmla="*/ 18288 h 18288"/>
              <a:gd name="connsiteX34" fmla="*/ 0 w 10853928"/>
              <a:gd name="connsiteY34" fmla="*/ 18288 h 18288"/>
              <a:gd name="connsiteX35" fmla="*/ 0 w 10853928"/>
              <a:gd name="connsiteY35" fmla="*/ 0 h 182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</a:cxnLst>
            <a:rect l="l" t="t" r="r" b="b"/>
            <a:pathLst>
              <a:path w="10853928" h="18288" fill="none" extrusionOk="0">
                <a:moveTo>
                  <a:pt x="0" y="0"/>
                </a:moveTo>
                <a:cubicBezTo>
                  <a:pt x="146993" y="-19076"/>
                  <a:pt x="347684" y="-4790"/>
                  <a:pt x="461292" y="0"/>
                </a:cubicBezTo>
                <a:cubicBezTo>
                  <a:pt x="574900" y="4790"/>
                  <a:pt x="808367" y="19821"/>
                  <a:pt x="1139662" y="0"/>
                </a:cubicBezTo>
                <a:cubicBezTo>
                  <a:pt x="1470957" y="-19821"/>
                  <a:pt x="1627405" y="5721"/>
                  <a:pt x="1926572" y="0"/>
                </a:cubicBezTo>
                <a:cubicBezTo>
                  <a:pt x="2225739" y="-5721"/>
                  <a:pt x="2137730" y="-3235"/>
                  <a:pt x="2279325" y="0"/>
                </a:cubicBezTo>
                <a:cubicBezTo>
                  <a:pt x="2420920" y="3235"/>
                  <a:pt x="2456518" y="9685"/>
                  <a:pt x="2632078" y="0"/>
                </a:cubicBezTo>
                <a:cubicBezTo>
                  <a:pt x="2807638" y="-9685"/>
                  <a:pt x="3211516" y="-43007"/>
                  <a:pt x="3527527" y="0"/>
                </a:cubicBezTo>
                <a:cubicBezTo>
                  <a:pt x="3843538" y="43007"/>
                  <a:pt x="4058833" y="22042"/>
                  <a:pt x="4205897" y="0"/>
                </a:cubicBezTo>
                <a:cubicBezTo>
                  <a:pt x="4352961" y="-22042"/>
                  <a:pt x="4474805" y="-11846"/>
                  <a:pt x="4558650" y="0"/>
                </a:cubicBezTo>
                <a:cubicBezTo>
                  <a:pt x="4642495" y="11846"/>
                  <a:pt x="5041928" y="-6069"/>
                  <a:pt x="5237020" y="0"/>
                </a:cubicBezTo>
                <a:cubicBezTo>
                  <a:pt x="5432112" y="6069"/>
                  <a:pt x="5943266" y="-17479"/>
                  <a:pt x="6132469" y="0"/>
                </a:cubicBezTo>
                <a:cubicBezTo>
                  <a:pt x="6321672" y="17479"/>
                  <a:pt x="6483872" y="26234"/>
                  <a:pt x="6702301" y="0"/>
                </a:cubicBezTo>
                <a:cubicBezTo>
                  <a:pt x="6920730" y="-26234"/>
                  <a:pt x="6991194" y="-15156"/>
                  <a:pt x="7272132" y="0"/>
                </a:cubicBezTo>
                <a:cubicBezTo>
                  <a:pt x="7553070" y="15156"/>
                  <a:pt x="7684444" y="-32961"/>
                  <a:pt x="7950502" y="0"/>
                </a:cubicBezTo>
                <a:cubicBezTo>
                  <a:pt x="8216560" y="32961"/>
                  <a:pt x="8493290" y="-10491"/>
                  <a:pt x="8737412" y="0"/>
                </a:cubicBezTo>
                <a:cubicBezTo>
                  <a:pt x="8981534" y="10491"/>
                  <a:pt x="9191586" y="-13899"/>
                  <a:pt x="9524322" y="0"/>
                </a:cubicBezTo>
                <a:cubicBezTo>
                  <a:pt x="9857058" y="13899"/>
                  <a:pt x="10297509" y="7485"/>
                  <a:pt x="10853928" y="0"/>
                </a:cubicBezTo>
                <a:cubicBezTo>
                  <a:pt x="10854574" y="4451"/>
                  <a:pt x="10854418" y="9226"/>
                  <a:pt x="10853928" y="18288"/>
                </a:cubicBezTo>
                <a:cubicBezTo>
                  <a:pt x="10691638" y="28522"/>
                  <a:pt x="10574319" y="29578"/>
                  <a:pt x="10392636" y="18288"/>
                </a:cubicBezTo>
                <a:cubicBezTo>
                  <a:pt x="10210953" y="6998"/>
                  <a:pt x="9836277" y="-16742"/>
                  <a:pt x="9497187" y="18288"/>
                </a:cubicBezTo>
                <a:cubicBezTo>
                  <a:pt x="9158097" y="53318"/>
                  <a:pt x="9119479" y="30714"/>
                  <a:pt x="8818817" y="18288"/>
                </a:cubicBezTo>
                <a:cubicBezTo>
                  <a:pt x="8518155" y="5863"/>
                  <a:pt x="8640037" y="6483"/>
                  <a:pt x="8466064" y="18288"/>
                </a:cubicBezTo>
                <a:cubicBezTo>
                  <a:pt x="8292091" y="30093"/>
                  <a:pt x="7997656" y="18914"/>
                  <a:pt x="7787693" y="18288"/>
                </a:cubicBezTo>
                <a:cubicBezTo>
                  <a:pt x="7577730" y="17662"/>
                  <a:pt x="7412468" y="21416"/>
                  <a:pt x="7217862" y="18288"/>
                </a:cubicBezTo>
                <a:cubicBezTo>
                  <a:pt x="7023256" y="15160"/>
                  <a:pt x="6898018" y="14824"/>
                  <a:pt x="6648031" y="18288"/>
                </a:cubicBezTo>
                <a:cubicBezTo>
                  <a:pt x="6398044" y="21752"/>
                  <a:pt x="6254402" y="38625"/>
                  <a:pt x="6078200" y="18288"/>
                </a:cubicBezTo>
                <a:cubicBezTo>
                  <a:pt x="5901998" y="-2049"/>
                  <a:pt x="5622886" y="3213"/>
                  <a:pt x="5508368" y="18288"/>
                </a:cubicBezTo>
                <a:cubicBezTo>
                  <a:pt x="5393850" y="33363"/>
                  <a:pt x="5036260" y="26830"/>
                  <a:pt x="4721459" y="18288"/>
                </a:cubicBezTo>
                <a:cubicBezTo>
                  <a:pt x="4406658" y="9746"/>
                  <a:pt x="4239221" y="41551"/>
                  <a:pt x="4043088" y="18288"/>
                </a:cubicBezTo>
                <a:cubicBezTo>
                  <a:pt x="3846955" y="-4975"/>
                  <a:pt x="3818802" y="34658"/>
                  <a:pt x="3690336" y="18288"/>
                </a:cubicBezTo>
                <a:cubicBezTo>
                  <a:pt x="3561870" y="1918"/>
                  <a:pt x="3265491" y="42194"/>
                  <a:pt x="3120504" y="18288"/>
                </a:cubicBezTo>
                <a:cubicBezTo>
                  <a:pt x="2975517" y="-5618"/>
                  <a:pt x="2720254" y="36673"/>
                  <a:pt x="2333595" y="18288"/>
                </a:cubicBezTo>
                <a:cubicBezTo>
                  <a:pt x="1946936" y="-97"/>
                  <a:pt x="2097241" y="5776"/>
                  <a:pt x="1872303" y="18288"/>
                </a:cubicBezTo>
                <a:cubicBezTo>
                  <a:pt x="1647365" y="30800"/>
                  <a:pt x="1282708" y="45380"/>
                  <a:pt x="976854" y="18288"/>
                </a:cubicBezTo>
                <a:cubicBezTo>
                  <a:pt x="671000" y="-8804"/>
                  <a:pt x="408401" y="-12775"/>
                  <a:pt x="0" y="18288"/>
                </a:cubicBezTo>
                <a:cubicBezTo>
                  <a:pt x="-213" y="9468"/>
                  <a:pt x="187" y="4459"/>
                  <a:pt x="0" y="0"/>
                </a:cubicBezTo>
                <a:close/>
              </a:path>
              <a:path w="10853928" h="18288" stroke="0" extrusionOk="0">
                <a:moveTo>
                  <a:pt x="0" y="0"/>
                </a:moveTo>
                <a:cubicBezTo>
                  <a:pt x="267322" y="15284"/>
                  <a:pt x="415388" y="-21048"/>
                  <a:pt x="569831" y="0"/>
                </a:cubicBezTo>
                <a:cubicBezTo>
                  <a:pt x="724274" y="21048"/>
                  <a:pt x="769333" y="-2353"/>
                  <a:pt x="922584" y="0"/>
                </a:cubicBezTo>
                <a:cubicBezTo>
                  <a:pt x="1075835" y="2353"/>
                  <a:pt x="1399490" y="-145"/>
                  <a:pt x="1818033" y="0"/>
                </a:cubicBezTo>
                <a:cubicBezTo>
                  <a:pt x="2236576" y="145"/>
                  <a:pt x="2145330" y="5482"/>
                  <a:pt x="2387864" y="0"/>
                </a:cubicBezTo>
                <a:cubicBezTo>
                  <a:pt x="2630398" y="-5482"/>
                  <a:pt x="2793207" y="18487"/>
                  <a:pt x="2957695" y="0"/>
                </a:cubicBezTo>
                <a:cubicBezTo>
                  <a:pt x="3122183" y="-18487"/>
                  <a:pt x="3579141" y="19003"/>
                  <a:pt x="3853144" y="0"/>
                </a:cubicBezTo>
                <a:cubicBezTo>
                  <a:pt x="4127147" y="-19003"/>
                  <a:pt x="4209857" y="12211"/>
                  <a:pt x="4314436" y="0"/>
                </a:cubicBezTo>
                <a:cubicBezTo>
                  <a:pt x="4419015" y="-12211"/>
                  <a:pt x="4762459" y="-17220"/>
                  <a:pt x="5209885" y="0"/>
                </a:cubicBezTo>
                <a:cubicBezTo>
                  <a:pt x="5657311" y="17220"/>
                  <a:pt x="5692663" y="-3290"/>
                  <a:pt x="6105335" y="0"/>
                </a:cubicBezTo>
                <a:cubicBezTo>
                  <a:pt x="6518007" y="3290"/>
                  <a:pt x="6455516" y="-5124"/>
                  <a:pt x="6783705" y="0"/>
                </a:cubicBezTo>
                <a:cubicBezTo>
                  <a:pt x="7111894" y="5124"/>
                  <a:pt x="7441941" y="-17829"/>
                  <a:pt x="7679154" y="0"/>
                </a:cubicBezTo>
                <a:cubicBezTo>
                  <a:pt x="7916367" y="17829"/>
                  <a:pt x="8102967" y="-24363"/>
                  <a:pt x="8248985" y="0"/>
                </a:cubicBezTo>
                <a:cubicBezTo>
                  <a:pt x="8395003" y="24363"/>
                  <a:pt x="8552393" y="25505"/>
                  <a:pt x="8818817" y="0"/>
                </a:cubicBezTo>
                <a:cubicBezTo>
                  <a:pt x="9085241" y="-25505"/>
                  <a:pt x="9411308" y="38000"/>
                  <a:pt x="9605726" y="0"/>
                </a:cubicBezTo>
                <a:cubicBezTo>
                  <a:pt x="9800144" y="-38000"/>
                  <a:pt x="10006468" y="-25741"/>
                  <a:pt x="10175558" y="0"/>
                </a:cubicBezTo>
                <a:cubicBezTo>
                  <a:pt x="10344648" y="25741"/>
                  <a:pt x="10696282" y="695"/>
                  <a:pt x="10853928" y="0"/>
                </a:cubicBezTo>
                <a:cubicBezTo>
                  <a:pt x="10853521" y="8690"/>
                  <a:pt x="10853774" y="14141"/>
                  <a:pt x="10853928" y="18288"/>
                </a:cubicBezTo>
                <a:cubicBezTo>
                  <a:pt x="10608124" y="24255"/>
                  <a:pt x="10343415" y="22307"/>
                  <a:pt x="10067018" y="18288"/>
                </a:cubicBezTo>
                <a:cubicBezTo>
                  <a:pt x="9790621" y="14270"/>
                  <a:pt x="9843266" y="3564"/>
                  <a:pt x="9714266" y="18288"/>
                </a:cubicBezTo>
                <a:cubicBezTo>
                  <a:pt x="9585266" y="33012"/>
                  <a:pt x="9379484" y="1875"/>
                  <a:pt x="9252974" y="18288"/>
                </a:cubicBezTo>
                <a:cubicBezTo>
                  <a:pt x="9126464" y="34701"/>
                  <a:pt x="8580678" y="-4904"/>
                  <a:pt x="8357525" y="18288"/>
                </a:cubicBezTo>
                <a:cubicBezTo>
                  <a:pt x="8134372" y="41480"/>
                  <a:pt x="7903199" y="26458"/>
                  <a:pt x="7679154" y="18288"/>
                </a:cubicBezTo>
                <a:cubicBezTo>
                  <a:pt x="7455109" y="10118"/>
                  <a:pt x="7435944" y="27109"/>
                  <a:pt x="7217862" y="18288"/>
                </a:cubicBezTo>
                <a:cubicBezTo>
                  <a:pt x="6999780" y="9467"/>
                  <a:pt x="6680409" y="18985"/>
                  <a:pt x="6539492" y="18288"/>
                </a:cubicBezTo>
                <a:cubicBezTo>
                  <a:pt x="6398575" y="17592"/>
                  <a:pt x="6312077" y="33018"/>
                  <a:pt x="6186739" y="18288"/>
                </a:cubicBezTo>
                <a:cubicBezTo>
                  <a:pt x="6061401" y="3558"/>
                  <a:pt x="5947033" y="12075"/>
                  <a:pt x="5833986" y="18288"/>
                </a:cubicBezTo>
                <a:cubicBezTo>
                  <a:pt x="5720939" y="24501"/>
                  <a:pt x="5482226" y="8586"/>
                  <a:pt x="5155616" y="18288"/>
                </a:cubicBezTo>
                <a:cubicBezTo>
                  <a:pt x="4829006" y="27991"/>
                  <a:pt x="4841274" y="29316"/>
                  <a:pt x="4694324" y="18288"/>
                </a:cubicBezTo>
                <a:cubicBezTo>
                  <a:pt x="4547374" y="7260"/>
                  <a:pt x="4077675" y="7013"/>
                  <a:pt x="3907414" y="18288"/>
                </a:cubicBezTo>
                <a:cubicBezTo>
                  <a:pt x="3737153" y="29564"/>
                  <a:pt x="3538393" y="21630"/>
                  <a:pt x="3446122" y="18288"/>
                </a:cubicBezTo>
                <a:cubicBezTo>
                  <a:pt x="3353851" y="14946"/>
                  <a:pt x="2990320" y="-8091"/>
                  <a:pt x="2659212" y="18288"/>
                </a:cubicBezTo>
                <a:cubicBezTo>
                  <a:pt x="2328104" y="44667"/>
                  <a:pt x="2427653" y="9607"/>
                  <a:pt x="2306460" y="18288"/>
                </a:cubicBezTo>
                <a:cubicBezTo>
                  <a:pt x="2185267" y="26969"/>
                  <a:pt x="1719763" y="3717"/>
                  <a:pt x="1519550" y="18288"/>
                </a:cubicBezTo>
                <a:cubicBezTo>
                  <a:pt x="1319337" y="32860"/>
                  <a:pt x="1167371" y="17040"/>
                  <a:pt x="1058258" y="18288"/>
                </a:cubicBezTo>
                <a:cubicBezTo>
                  <a:pt x="949145" y="19536"/>
                  <a:pt x="780234" y="31447"/>
                  <a:pt x="705505" y="18288"/>
                </a:cubicBezTo>
                <a:cubicBezTo>
                  <a:pt x="630776" y="5129"/>
                  <a:pt x="215796" y="30056"/>
                  <a:pt x="0" y="18288"/>
                </a:cubicBezTo>
                <a:cubicBezTo>
                  <a:pt x="-53" y="11301"/>
                  <a:pt x="-649" y="7756"/>
                  <a:pt x="0" y="0"/>
                </a:cubicBezTo>
                <a:close/>
              </a:path>
            </a:pathLst>
          </a:custGeom>
          <a:solidFill>
            <a:schemeClr val="accent2"/>
          </a:solidFill>
          <a:ln w="41275" cap="rnd">
            <a:solidFill>
              <a:schemeClr val="accent2"/>
            </a:solidFill>
            <a:round/>
            <a:extLst>
              <a:ext uri="{C807C97D-BFC1-408E-A445-0C87EB9F89A2}">
                <ask:lineSketchStyleProps xmlns:ask="http://schemas.microsoft.com/office/drawing/2018/sketchyshapes" sd="1219033472">
                  <a:prstGeom prst="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9FA71A85-160A-4CFF-9241-BA71D421B86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51671" y="1690688"/>
            <a:ext cx="11652308" cy="4872318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fr-FR" sz="15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 </a:t>
            </a:r>
          </a:p>
          <a:p>
            <a:pPr marL="0" indent="0">
              <a:buNone/>
            </a:pPr>
            <a:r>
              <a:rPr lang="fr-FR" sz="1800" dirty="0">
                <a:effectLst/>
                <a:latin typeface="Verdana" panose="020B0604030504040204" pitchFamily="34" charset="0"/>
              </a:rPr>
              <a:t>Comptabilisation sous forme de comptes dit en "T"</a:t>
            </a:r>
          </a:p>
          <a:p>
            <a:pPr algn="just"/>
            <a:endParaRPr lang="fr-FR" sz="1800" dirty="0">
              <a:solidFill>
                <a:srgbClr val="000000"/>
              </a:solidFill>
              <a:effectLst/>
              <a:latin typeface="Verdana" panose="020B060403050404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just"/>
            <a:r>
              <a:rPr lang="fr-FR" sz="1800" dirty="0">
                <a:solidFill>
                  <a:srgbClr val="000000"/>
                </a:solidFill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Remarque :</a:t>
            </a:r>
            <a:endParaRPr lang="fr-FR" sz="1800" dirty="0">
              <a:effectLst/>
              <a:latin typeface="Verdana" panose="020B060403050404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just"/>
            <a:r>
              <a:rPr lang="fr-FR" sz="1800" dirty="0">
                <a:solidFill>
                  <a:srgbClr val="000000"/>
                </a:solidFill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Les comptes en "T" sont aussi appelés des comptes schématiques.</a:t>
            </a:r>
            <a:endParaRPr lang="fr-FR" sz="1800" dirty="0">
              <a:effectLst/>
              <a:latin typeface="Verdana" panose="020B060403050404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just"/>
            <a:r>
              <a:rPr lang="fr-FR" sz="18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 </a:t>
            </a:r>
          </a:p>
          <a:p>
            <a:pPr algn="just"/>
            <a:r>
              <a:rPr lang="fr-FR" sz="18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Principe. </a:t>
            </a:r>
          </a:p>
          <a:p>
            <a:pPr algn="just"/>
            <a:r>
              <a:rPr lang="fr-FR" sz="18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Chaque compte peut être schématisé sous la forme d'un "T". </a:t>
            </a:r>
          </a:p>
          <a:p>
            <a:pPr algn="just"/>
            <a:endParaRPr lang="fr-FR" sz="1800" dirty="0">
              <a:latin typeface="Verdana" panose="020B060403050404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just"/>
            <a:r>
              <a:rPr lang="fr-FR" sz="1800" dirty="0"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A</a:t>
            </a:r>
            <a:r>
              <a:rPr lang="fr-FR" sz="18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gauche =&gt; débit</a:t>
            </a:r>
          </a:p>
          <a:p>
            <a:pPr algn="just"/>
            <a:r>
              <a:rPr lang="fr-FR" sz="1800" dirty="0"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A droite =&gt; </a:t>
            </a:r>
            <a:r>
              <a:rPr lang="fr-FR" sz="18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crédit.</a:t>
            </a:r>
          </a:p>
          <a:p>
            <a:pPr algn="just"/>
            <a:endParaRPr lang="fr-FR" sz="1800" dirty="0">
              <a:latin typeface="Verdana" panose="020B060403050404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just"/>
            <a:r>
              <a:rPr lang="fr-FR" sz="18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Exemple : achat de marchandises : 100 000 € payé au comptant</a:t>
            </a:r>
          </a:p>
          <a:p>
            <a:pPr marL="0" indent="0" algn="just">
              <a:buNone/>
            </a:pPr>
            <a:endParaRPr lang="fr-FR" sz="1500" dirty="0"/>
          </a:p>
        </p:txBody>
      </p:sp>
    </p:spTree>
    <p:extLst>
      <p:ext uri="{BB962C8B-B14F-4D97-AF65-F5344CB8AC3E}">
        <p14:creationId xmlns:p14="http://schemas.microsoft.com/office/powerpoint/2010/main" val="3528439896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7" name="Rectangle 16">
            <a:extLst>
              <a:ext uri="{FF2B5EF4-FFF2-40B4-BE49-F238E27FC236}">
                <a16:creationId xmlns:a16="http://schemas.microsoft.com/office/drawing/2014/main" id="{100EDD19-6802-4EC3-95CE-CFFAB042CFD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AEFCB68E-E041-4E46-A233-3C2208DA32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1671" y="365125"/>
            <a:ext cx="11102129" cy="1325563"/>
          </a:xfrm>
        </p:spPr>
        <p:txBody>
          <a:bodyPr>
            <a:normAutofit/>
          </a:bodyPr>
          <a:lstStyle/>
          <a:p>
            <a:r>
              <a:rPr lang="fr-FR" sz="5400" dirty="0"/>
              <a:t>Comptabilisation – Méthode </a:t>
            </a:r>
          </a:p>
        </p:txBody>
      </p:sp>
      <p:sp>
        <p:nvSpPr>
          <p:cNvPr id="19" name="sketch line">
            <a:extLst>
              <a:ext uri="{FF2B5EF4-FFF2-40B4-BE49-F238E27FC236}">
                <a16:creationId xmlns:a16="http://schemas.microsoft.com/office/drawing/2014/main" id="{DB17E863-922E-4C26-BD64-E8FD41D2866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669036" y="1677373"/>
            <a:ext cx="10853928" cy="18288"/>
          </a:xfrm>
          <a:custGeom>
            <a:avLst/>
            <a:gdLst>
              <a:gd name="connsiteX0" fmla="*/ 0 w 10853928"/>
              <a:gd name="connsiteY0" fmla="*/ 0 h 18288"/>
              <a:gd name="connsiteX1" fmla="*/ 461292 w 10853928"/>
              <a:gd name="connsiteY1" fmla="*/ 0 h 18288"/>
              <a:gd name="connsiteX2" fmla="*/ 1139662 w 10853928"/>
              <a:gd name="connsiteY2" fmla="*/ 0 h 18288"/>
              <a:gd name="connsiteX3" fmla="*/ 1926572 w 10853928"/>
              <a:gd name="connsiteY3" fmla="*/ 0 h 18288"/>
              <a:gd name="connsiteX4" fmla="*/ 2279325 w 10853928"/>
              <a:gd name="connsiteY4" fmla="*/ 0 h 18288"/>
              <a:gd name="connsiteX5" fmla="*/ 2632078 w 10853928"/>
              <a:gd name="connsiteY5" fmla="*/ 0 h 18288"/>
              <a:gd name="connsiteX6" fmla="*/ 3527527 w 10853928"/>
              <a:gd name="connsiteY6" fmla="*/ 0 h 18288"/>
              <a:gd name="connsiteX7" fmla="*/ 4205897 w 10853928"/>
              <a:gd name="connsiteY7" fmla="*/ 0 h 18288"/>
              <a:gd name="connsiteX8" fmla="*/ 4558650 w 10853928"/>
              <a:gd name="connsiteY8" fmla="*/ 0 h 18288"/>
              <a:gd name="connsiteX9" fmla="*/ 5237020 w 10853928"/>
              <a:gd name="connsiteY9" fmla="*/ 0 h 18288"/>
              <a:gd name="connsiteX10" fmla="*/ 6132469 w 10853928"/>
              <a:gd name="connsiteY10" fmla="*/ 0 h 18288"/>
              <a:gd name="connsiteX11" fmla="*/ 6702301 w 10853928"/>
              <a:gd name="connsiteY11" fmla="*/ 0 h 18288"/>
              <a:gd name="connsiteX12" fmla="*/ 7272132 w 10853928"/>
              <a:gd name="connsiteY12" fmla="*/ 0 h 18288"/>
              <a:gd name="connsiteX13" fmla="*/ 7950502 w 10853928"/>
              <a:gd name="connsiteY13" fmla="*/ 0 h 18288"/>
              <a:gd name="connsiteX14" fmla="*/ 8737412 w 10853928"/>
              <a:gd name="connsiteY14" fmla="*/ 0 h 18288"/>
              <a:gd name="connsiteX15" fmla="*/ 9524322 w 10853928"/>
              <a:gd name="connsiteY15" fmla="*/ 0 h 18288"/>
              <a:gd name="connsiteX16" fmla="*/ 10853928 w 10853928"/>
              <a:gd name="connsiteY16" fmla="*/ 0 h 18288"/>
              <a:gd name="connsiteX17" fmla="*/ 10853928 w 10853928"/>
              <a:gd name="connsiteY17" fmla="*/ 18288 h 18288"/>
              <a:gd name="connsiteX18" fmla="*/ 10392636 w 10853928"/>
              <a:gd name="connsiteY18" fmla="*/ 18288 h 18288"/>
              <a:gd name="connsiteX19" fmla="*/ 9497187 w 10853928"/>
              <a:gd name="connsiteY19" fmla="*/ 18288 h 18288"/>
              <a:gd name="connsiteX20" fmla="*/ 8818817 w 10853928"/>
              <a:gd name="connsiteY20" fmla="*/ 18288 h 18288"/>
              <a:gd name="connsiteX21" fmla="*/ 8466064 w 10853928"/>
              <a:gd name="connsiteY21" fmla="*/ 18288 h 18288"/>
              <a:gd name="connsiteX22" fmla="*/ 7787693 w 10853928"/>
              <a:gd name="connsiteY22" fmla="*/ 18288 h 18288"/>
              <a:gd name="connsiteX23" fmla="*/ 7217862 w 10853928"/>
              <a:gd name="connsiteY23" fmla="*/ 18288 h 18288"/>
              <a:gd name="connsiteX24" fmla="*/ 6648031 w 10853928"/>
              <a:gd name="connsiteY24" fmla="*/ 18288 h 18288"/>
              <a:gd name="connsiteX25" fmla="*/ 6078200 w 10853928"/>
              <a:gd name="connsiteY25" fmla="*/ 18288 h 18288"/>
              <a:gd name="connsiteX26" fmla="*/ 5508368 w 10853928"/>
              <a:gd name="connsiteY26" fmla="*/ 18288 h 18288"/>
              <a:gd name="connsiteX27" fmla="*/ 4721459 w 10853928"/>
              <a:gd name="connsiteY27" fmla="*/ 18288 h 18288"/>
              <a:gd name="connsiteX28" fmla="*/ 4043088 w 10853928"/>
              <a:gd name="connsiteY28" fmla="*/ 18288 h 18288"/>
              <a:gd name="connsiteX29" fmla="*/ 3690336 w 10853928"/>
              <a:gd name="connsiteY29" fmla="*/ 18288 h 18288"/>
              <a:gd name="connsiteX30" fmla="*/ 3120504 w 10853928"/>
              <a:gd name="connsiteY30" fmla="*/ 18288 h 18288"/>
              <a:gd name="connsiteX31" fmla="*/ 2333595 w 10853928"/>
              <a:gd name="connsiteY31" fmla="*/ 18288 h 18288"/>
              <a:gd name="connsiteX32" fmla="*/ 1872303 w 10853928"/>
              <a:gd name="connsiteY32" fmla="*/ 18288 h 18288"/>
              <a:gd name="connsiteX33" fmla="*/ 976854 w 10853928"/>
              <a:gd name="connsiteY33" fmla="*/ 18288 h 18288"/>
              <a:gd name="connsiteX34" fmla="*/ 0 w 10853928"/>
              <a:gd name="connsiteY34" fmla="*/ 18288 h 18288"/>
              <a:gd name="connsiteX35" fmla="*/ 0 w 10853928"/>
              <a:gd name="connsiteY35" fmla="*/ 0 h 182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</a:cxnLst>
            <a:rect l="l" t="t" r="r" b="b"/>
            <a:pathLst>
              <a:path w="10853928" h="18288" fill="none" extrusionOk="0">
                <a:moveTo>
                  <a:pt x="0" y="0"/>
                </a:moveTo>
                <a:cubicBezTo>
                  <a:pt x="146993" y="-19076"/>
                  <a:pt x="347684" y="-4790"/>
                  <a:pt x="461292" y="0"/>
                </a:cubicBezTo>
                <a:cubicBezTo>
                  <a:pt x="574900" y="4790"/>
                  <a:pt x="808367" y="19821"/>
                  <a:pt x="1139662" y="0"/>
                </a:cubicBezTo>
                <a:cubicBezTo>
                  <a:pt x="1470957" y="-19821"/>
                  <a:pt x="1627405" y="5721"/>
                  <a:pt x="1926572" y="0"/>
                </a:cubicBezTo>
                <a:cubicBezTo>
                  <a:pt x="2225739" y="-5721"/>
                  <a:pt x="2137730" y="-3235"/>
                  <a:pt x="2279325" y="0"/>
                </a:cubicBezTo>
                <a:cubicBezTo>
                  <a:pt x="2420920" y="3235"/>
                  <a:pt x="2456518" y="9685"/>
                  <a:pt x="2632078" y="0"/>
                </a:cubicBezTo>
                <a:cubicBezTo>
                  <a:pt x="2807638" y="-9685"/>
                  <a:pt x="3211516" y="-43007"/>
                  <a:pt x="3527527" y="0"/>
                </a:cubicBezTo>
                <a:cubicBezTo>
                  <a:pt x="3843538" y="43007"/>
                  <a:pt x="4058833" y="22042"/>
                  <a:pt x="4205897" y="0"/>
                </a:cubicBezTo>
                <a:cubicBezTo>
                  <a:pt x="4352961" y="-22042"/>
                  <a:pt x="4474805" y="-11846"/>
                  <a:pt x="4558650" y="0"/>
                </a:cubicBezTo>
                <a:cubicBezTo>
                  <a:pt x="4642495" y="11846"/>
                  <a:pt x="5041928" y="-6069"/>
                  <a:pt x="5237020" y="0"/>
                </a:cubicBezTo>
                <a:cubicBezTo>
                  <a:pt x="5432112" y="6069"/>
                  <a:pt x="5943266" y="-17479"/>
                  <a:pt x="6132469" y="0"/>
                </a:cubicBezTo>
                <a:cubicBezTo>
                  <a:pt x="6321672" y="17479"/>
                  <a:pt x="6483872" y="26234"/>
                  <a:pt x="6702301" y="0"/>
                </a:cubicBezTo>
                <a:cubicBezTo>
                  <a:pt x="6920730" y="-26234"/>
                  <a:pt x="6991194" y="-15156"/>
                  <a:pt x="7272132" y="0"/>
                </a:cubicBezTo>
                <a:cubicBezTo>
                  <a:pt x="7553070" y="15156"/>
                  <a:pt x="7684444" y="-32961"/>
                  <a:pt x="7950502" y="0"/>
                </a:cubicBezTo>
                <a:cubicBezTo>
                  <a:pt x="8216560" y="32961"/>
                  <a:pt x="8493290" y="-10491"/>
                  <a:pt x="8737412" y="0"/>
                </a:cubicBezTo>
                <a:cubicBezTo>
                  <a:pt x="8981534" y="10491"/>
                  <a:pt x="9191586" y="-13899"/>
                  <a:pt x="9524322" y="0"/>
                </a:cubicBezTo>
                <a:cubicBezTo>
                  <a:pt x="9857058" y="13899"/>
                  <a:pt x="10297509" y="7485"/>
                  <a:pt x="10853928" y="0"/>
                </a:cubicBezTo>
                <a:cubicBezTo>
                  <a:pt x="10854574" y="4451"/>
                  <a:pt x="10854418" y="9226"/>
                  <a:pt x="10853928" y="18288"/>
                </a:cubicBezTo>
                <a:cubicBezTo>
                  <a:pt x="10691638" y="28522"/>
                  <a:pt x="10574319" y="29578"/>
                  <a:pt x="10392636" y="18288"/>
                </a:cubicBezTo>
                <a:cubicBezTo>
                  <a:pt x="10210953" y="6998"/>
                  <a:pt x="9836277" y="-16742"/>
                  <a:pt x="9497187" y="18288"/>
                </a:cubicBezTo>
                <a:cubicBezTo>
                  <a:pt x="9158097" y="53318"/>
                  <a:pt x="9119479" y="30714"/>
                  <a:pt x="8818817" y="18288"/>
                </a:cubicBezTo>
                <a:cubicBezTo>
                  <a:pt x="8518155" y="5863"/>
                  <a:pt x="8640037" y="6483"/>
                  <a:pt x="8466064" y="18288"/>
                </a:cubicBezTo>
                <a:cubicBezTo>
                  <a:pt x="8292091" y="30093"/>
                  <a:pt x="7997656" y="18914"/>
                  <a:pt x="7787693" y="18288"/>
                </a:cubicBezTo>
                <a:cubicBezTo>
                  <a:pt x="7577730" y="17662"/>
                  <a:pt x="7412468" y="21416"/>
                  <a:pt x="7217862" y="18288"/>
                </a:cubicBezTo>
                <a:cubicBezTo>
                  <a:pt x="7023256" y="15160"/>
                  <a:pt x="6898018" y="14824"/>
                  <a:pt x="6648031" y="18288"/>
                </a:cubicBezTo>
                <a:cubicBezTo>
                  <a:pt x="6398044" y="21752"/>
                  <a:pt x="6254402" y="38625"/>
                  <a:pt x="6078200" y="18288"/>
                </a:cubicBezTo>
                <a:cubicBezTo>
                  <a:pt x="5901998" y="-2049"/>
                  <a:pt x="5622886" y="3213"/>
                  <a:pt x="5508368" y="18288"/>
                </a:cubicBezTo>
                <a:cubicBezTo>
                  <a:pt x="5393850" y="33363"/>
                  <a:pt x="5036260" y="26830"/>
                  <a:pt x="4721459" y="18288"/>
                </a:cubicBezTo>
                <a:cubicBezTo>
                  <a:pt x="4406658" y="9746"/>
                  <a:pt x="4239221" y="41551"/>
                  <a:pt x="4043088" y="18288"/>
                </a:cubicBezTo>
                <a:cubicBezTo>
                  <a:pt x="3846955" y="-4975"/>
                  <a:pt x="3818802" y="34658"/>
                  <a:pt x="3690336" y="18288"/>
                </a:cubicBezTo>
                <a:cubicBezTo>
                  <a:pt x="3561870" y="1918"/>
                  <a:pt x="3265491" y="42194"/>
                  <a:pt x="3120504" y="18288"/>
                </a:cubicBezTo>
                <a:cubicBezTo>
                  <a:pt x="2975517" y="-5618"/>
                  <a:pt x="2720254" y="36673"/>
                  <a:pt x="2333595" y="18288"/>
                </a:cubicBezTo>
                <a:cubicBezTo>
                  <a:pt x="1946936" y="-97"/>
                  <a:pt x="2097241" y="5776"/>
                  <a:pt x="1872303" y="18288"/>
                </a:cubicBezTo>
                <a:cubicBezTo>
                  <a:pt x="1647365" y="30800"/>
                  <a:pt x="1282708" y="45380"/>
                  <a:pt x="976854" y="18288"/>
                </a:cubicBezTo>
                <a:cubicBezTo>
                  <a:pt x="671000" y="-8804"/>
                  <a:pt x="408401" y="-12775"/>
                  <a:pt x="0" y="18288"/>
                </a:cubicBezTo>
                <a:cubicBezTo>
                  <a:pt x="-213" y="9468"/>
                  <a:pt x="187" y="4459"/>
                  <a:pt x="0" y="0"/>
                </a:cubicBezTo>
                <a:close/>
              </a:path>
              <a:path w="10853928" h="18288" stroke="0" extrusionOk="0">
                <a:moveTo>
                  <a:pt x="0" y="0"/>
                </a:moveTo>
                <a:cubicBezTo>
                  <a:pt x="267322" y="15284"/>
                  <a:pt x="415388" y="-21048"/>
                  <a:pt x="569831" y="0"/>
                </a:cubicBezTo>
                <a:cubicBezTo>
                  <a:pt x="724274" y="21048"/>
                  <a:pt x="769333" y="-2353"/>
                  <a:pt x="922584" y="0"/>
                </a:cubicBezTo>
                <a:cubicBezTo>
                  <a:pt x="1075835" y="2353"/>
                  <a:pt x="1399490" y="-145"/>
                  <a:pt x="1818033" y="0"/>
                </a:cubicBezTo>
                <a:cubicBezTo>
                  <a:pt x="2236576" y="145"/>
                  <a:pt x="2145330" y="5482"/>
                  <a:pt x="2387864" y="0"/>
                </a:cubicBezTo>
                <a:cubicBezTo>
                  <a:pt x="2630398" y="-5482"/>
                  <a:pt x="2793207" y="18487"/>
                  <a:pt x="2957695" y="0"/>
                </a:cubicBezTo>
                <a:cubicBezTo>
                  <a:pt x="3122183" y="-18487"/>
                  <a:pt x="3579141" y="19003"/>
                  <a:pt x="3853144" y="0"/>
                </a:cubicBezTo>
                <a:cubicBezTo>
                  <a:pt x="4127147" y="-19003"/>
                  <a:pt x="4209857" y="12211"/>
                  <a:pt x="4314436" y="0"/>
                </a:cubicBezTo>
                <a:cubicBezTo>
                  <a:pt x="4419015" y="-12211"/>
                  <a:pt x="4762459" y="-17220"/>
                  <a:pt x="5209885" y="0"/>
                </a:cubicBezTo>
                <a:cubicBezTo>
                  <a:pt x="5657311" y="17220"/>
                  <a:pt x="5692663" y="-3290"/>
                  <a:pt x="6105335" y="0"/>
                </a:cubicBezTo>
                <a:cubicBezTo>
                  <a:pt x="6518007" y="3290"/>
                  <a:pt x="6455516" y="-5124"/>
                  <a:pt x="6783705" y="0"/>
                </a:cubicBezTo>
                <a:cubicBezTo>
                  <a:pt x="7111894" y="5124"/>
                  <a:pt x="7441941" y="-17829"/>
                  <a:pt x="7679154" y="0"/>
                </a:cubicBezTo>
                <a:cubicBezTo>
                  <a:pt x="7916367" y="17829"/>
                  <a:pt x="8102967" y="-24363"/>
                  <a:pt x="8248985" y="0"/>
                </a:cubicBezTo>
                <a:cubicBezTo>
                  <a:pt x="8395003" y="24363"/>
                  <a:pt x="8552393" y="25505"/>
                  <a:pt x="8818817" y="0"/>
                </a:cubicBezTo>
                <a:cubicBezTo>
                  <a:pt x="9085241" y="-25505"/>
                  <a:pt x="9411308" y="38000"/>
                  <a:pt x="9605726" y="0"/>
                </a:cubicBezTo>
                <a:cubicBezTo>
                  <a:pt x="9800144" y="-38000"/>
                  <a:pt x="10006468" y="-25741"/>
                  <a:pt x="10175558" y="0"/>
                </a:cubicBezTo>
                <a:cubicBezTo>
                  <a:pt x="10344648" y="25741"/>
                  <a:pt x="10696282" y="695"/>
                  <a:pt x="10853928" y="0"/>
                </a:cubicBezTo>
                <a:cubicBezTo>
                  <a:pt x="10853521" y="8690"/>
                  <a:pt x="10853774" y="14141"/>
                  <a:pt x="10853928" y="18288"/>
                </a:cubicBezTo>
                <a:cubicBezTo>
                  <a:pt x="10608124" y="24255"/>
                  <a:pt x="10343415" y="22307"/>
                  <a:pt x="10067018" y="18288"/>
                </a:cubicBezTo>
                <a:cubicBezTo>
                  <a:pt x="9790621" y="14270"/>
                  <a:pt x="9843266" y="3564"/>
                  <a:pt x="9714266" y="18288"/>
                </a:cubicBezTo>
                <a:cubicBezTo>
                  <a:pt x="9585266" y="33012"/>
                  <a:pt x="9379484" y="1875"/>
                  <a:pt x="9252974" y="18288"/>
                </a:cubicBezTo>
                <a:cubicBezTo>
                  <a:pt x="9126464" y="34701"/>
                  <a:pt x="8580678" y="-4904"/>
                  <a:pt x="8357525" y="18288"/>
                </a:cubicBezTo>
                <a:cubicBezTo>
                  <a:pt x="8134372" y="41480"/>
                  <a:pt x="7903199" y="26458"/>
                  <a:pt x="7679154" y="18288"/>
                </a:cubicBezTo>
                <a:cubicBezTo>
                  <a:pt x="7455109" y="10118"/>
                  <a:pt x="7435944" y="27109"/>
                  <a:pt x="7217862" y="18288"/>
                </a:cubicBezTo>
                <a:cubicBezTo>
                  <a:pt x="6999780" y="9467"/>
                  <a:pt x="6680409" y="18985"/>
                  <a:pt x="6539492" y="18288"/>
                </a:cubicBezTo>
                <a:cubicBezTo>
                  <a:pt x="6398575" y="17592"/>
                  <a:pt x="6312077" y="33018"/>
                  <a:pt x="6186739" y="18288"/>
                </a:cubicBezTo>
                <a:cubicBezTo>
                  <a:pt x="6061401" y="3558"/>
                  <a:pt x="5947033" y="12075"/>
                  <a:pt x="5833986" y="18288"/>
                </a:cubicBezTo>
                <a:cubicBezTo>
                  <a:pt x="5720939" y="24501"/>
                  <a:pt x="5482226" y="8586"/>
                  <a:pt x="5155616" y="18288"/>
                </a:cubicBezTo>
                <a:cubicBezTo>
                  <a:pt x="4829006" y="27991"/>
                  <a:pt x="4841274" y="29316"/>
                  <a:pt x="4694324" y="18288"/>
                </a:cubicBezTo>
                <a:cubicBezTo>
                  <a:pt x="4547374" y="7260"/>
                  <a:pt x="4077675" y="7013"/>
                  <a:pt x="3907414" y="18288"/>
                </a:cubicBezTo>
                <a:cubicBezTo>
                  <a:pt x="3737153" y="29564"/>
                  <a:pt x="3538393" y="21630"/>
                  <a:pt x="3446122" y="18288"/>
                </a:cubicBezTo>
                <a:cubicBezTo>
                  <a:pt x="3353851" y="14946"/>
                  <a:pt x="2990320" y="-8091"/>
                  <a:pt x="2659212" y="18288"/>
                </a:cubicBezTo>
                <a:cubicBezTo>
                  <a:pt x="2328104" y="44667"/>
                  <a:pt x="2427653" y="9607"/>
                  <a:pt x="2306460" y="18288"/>
                </a:cubicBezTo>
                <a:cubicBezTo>
                  <a:pt x="2185267" y="26969"/>
                  <a:pt x="1719763" y="3717"/>
                  <a:pt x="1519550" y="18288"/>
                </a:cubicBezTo>
                <a:cubicBezTo>
                  <a:pt x="1319337" y="32860"/>
                  <a:pt x="1167371" y="17040"/>
                  <a:pt x="1058258" y="18288"/>
                </a:cubicBezTo>
                <a:cubicBezTo>
                  <a:pt x="949145" y="19536"/>
                  <a:pt x="780234" y="31447"/>
                  <a:pt x="705505" y="18288"/>
                </a:cubicBezTo>
                <a:cubicBezTo>
                  <a:pt x="630776" y="5129"/>
                  <a:pt x="215796" y="30056"/>
                  <a:pt x="0" y="18288"/>
                </a:cubicBezTo>
                <a:cubicBezTo>
                  <a:pt x="-53" y="11301"/>
                  <a:pt x="-649" y="7756"/>
                  <a:pt x="0" y="0"/>
                </a:cubicBezTo>
                <a:close/>
              </a:path>
            </a:pathLst>
          </a:custGeom>
          <a:solidFill>
            <a:schemeClr val="accent2"/>
          </a:solidFill>
          <a:ln w="41275" cap="rnd">
            <a:solidFill>
              <a:schemeClr val="accent2"/>
            </a:solidFill>
            <a:round/>
            <a:extLst>
              <a:ext uri="{C807C97D-BFC1-408E-A445-0C87EB9F89A2}">
                <ask:lineSketchStyleProps xmlns:ask="http://schemas.microsoft.com/office/drawing/2018/sketchyshapes" sd="1219033472">
                  <a:prstGeom prst="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9FA71A85-160A-4CFF-9241-BA71D421B86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51671" y="1690688"/>
            <a:ext cx="11652308" cy="4872318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fr-FR" sz="15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 </a:t>
            </a:r>
          </a:p>
          <a:p>
            <a:pPr marL="0" indent="0" algn="just">
              <a:buNone/>
            </a:pPr>
            <a:endParaRPr lang="fr-FR" sz="1500" dirty="0"/>
          </a:p>
        </p:txBody>
      </p:sp>
      <p:pic>
        <p:nvPicPr>
          <p:cNvPr id="5" name="Image 4">
            <a:extLst>
              <a:ext uri="{FF2B5EF4-FFF2-40B4-BE49-F238E27FC236}">
                <a16:creationId xmlns:a16="http://schemas.microsoft.com/office/drawing/2014/main" id="{A1D02FCC-25C3-466A-AA38-333553E41D2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888434" y="1800469"/>
            <a:ext cx="8080513" cy="37877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92509618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7" name="Rectangle 16">
            <a:extLst>
              <a:ext uri="{FF2B5EF4-FFF2-40B4-BE49-F238E27FC236}">
                <a16:creationId xmlns:a16="http://schemas.microsoft.com/office/drawing/2014/main" id="{100EDD19-6802-4EC3-95CE-CFFAB042CFD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AEFCB68E-E041-4E46-A233-3C2208DA32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1671" y="365125"/>
            <a:ext cx="11102129" cy="1325563"/>
          </a:xfrm>
        </p:spPr>
        <p:txBody>
          <a:bodyPr>
            <a:normAutofit/>
          </a:bodyPr>
          <a:lstStyle/>
          <a:p>
            <a:r>
              <a:rPr lang="fr-FR" sz="5400" dirty="0"/>
              <a:t>Comptabilisation – Méthode </a:t>
            </a:r>
          </a:p>
        </p:txBody>
      </p:sp>
      <p:sp>
        <p:nvSpPr>
          <p:cNvPr id="19" name="sketch line">
            <a:extLst>
              <a:ext uri="{FF2B5EF4-FFF2-40B4-BE49-F238E27FC236}">
                <a16:creationId xmlns:a16="http://schemas.microsoft.com/office/drawing/2014/main" id="{DB17E863-922E-4C26-BD64-E8FD41D2866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669036" y="1677373"/>
            <a:ext cx="10853928" cy="18288"/>
          </a:xfrm>
          <a:custGeom>
            <a:avLst/>
            <a:gdLst>
              <a:gd name="connsiteX0" fmla="*/ 0 w 10853928"/>
              <a:gd name="connsiteY0" fmla="*/ 0 h 18288"/>
              <a:gd name="connsiteX1" fmla="*/ 461292 w 10853928"/>
              <a:gd name="connsiteY1" fmla="*/ 0 h 18288"/>
              <a:gd name="connsiteX2" fmla="*/ 1139662 w 10853928"/>
              <a:gd name="connsiteY2" fmla="*/ 0 h 18288"/>
              <a:gd name="connsiteX3" fmla="*/ 1926572 w 10853928"/>
              <a:gd name="connsiteY3" fmla="*/ 0 h 18288"/>
              <a:gd name="connsiteX4" fmla="*/ 2279325 w 10853928"/>
              <a:gd name="connsiteY4" fmla="*/ 0 h 18288"/>
              <a:gd name="connsiteX5" fmla="*/ 2632078 w 10853928"/>
              <a:gd name="connsiteY5" fmla="*/ 0 h 18288"/>
              <a:gd name="connsiteX6" fmla="*/ 3527527 w 10853928"/>
              <a:gd name="connsiteY6" fmla="*/ 0 h 18288"/>
              <a:gd name="connsiteX7" fmla="*/ 4205897 w 10853928"/>
              <a:gd name="connsiteY7" fmla="*/ 0 h 18288"/>
              <a:gd name="connsiteX8" fmla="*/ 4558650 w 10853928"/>
              <a:gd name="connsiteY8" fmla="*/ 0 h 18288"/>
              <a:gd name="connsiteX9" fmla="*/ 5237020 w 10853928"/>
              <a:gd name="connsiteY9" fmla="*/ 0 h 18288"/>
              <a:gd name="connsiteX10" fmla="*/ 6132469 w 10853928"/>
              <a:gd name="connsiteY10" fmla="*/ 0 h 18288"/>
              <a:gd name="connsiteX11" fmla="*/ 6702301 w 10853928"/>
              <a:gd name="connsiteY11" fmla="*/ 0 h 18288"/>
              <a:gd name="connsiteX12" fmla="*/ 7272132 w 10853928"/>
              <a:gd name="connsiteY12" fmla="*/ 0 h 18288"/>
              <a:gd name="connsiteX13" fmla="*/ 7950502 w 10853928"/>
              <a:gd name="connsiteY13" fmla="*/ 0 h 18288"/>
              <a:gd name="connsiteX14" fmla="*/ 8737412 w 10853928"/>
              <a:gd name="connsiteY14" fmla="*/ 0 h 18288"/>
              <a:gd name="connsiteX15" fmla="*/ 9524322 w 10853928"/>
              <a:gd name="connsiteY15" fmla="*/ 0 h 18288"/>
              <a:gd name="connsiteX16" fmla="*/ 10853928 w 10853928"/>
              <a:gd name="connsiteY16" fmla="*/ 0 h 18288"/>
              <a:gd name="connsiteX17" fmla="*/ 10853928 w 10853928"/>
              <a:gd name="connsiteY17" fmla="*/ 18288 h 18288"/>
              <a:gd name="connsiteX18" fmla="*/ 10392636 w 10853928"/>
              <a:gd name="connsiteY18" fmla="*/ 18288 h 18288"/>
              <a:gd name="connsiteX19" fmla="*/ 9497187 w 10853928"/>
              <a:gd name="connsiteY19" fmla="*/ 18288 h 18288"/>
              <a:gd name="connsiteX20" fmla="*/ 8818817 w 10853928"/>
              <a:gd name="connsiteY20" fmla="*/ 18288 h 18288"/>
              <a:gd name="connsiteX21" fmla="*/ 8466064 w 10853928"/>
              <a:gd name="connsiteY21" fmla="*/ 18288 h 18288"/>
              <a:gd name="connsiteX22" fmla="*/ 7787693 w 10853928"/>
              <a:gd name="connsiteY22" fmla="*/ 18288 h 18288"/>
              <a:gd name="connsiteX23" fmla="*/ 7217862 w 10853928"/>
              <a:gd name="connsiteY23" fmla="*/ 18288 h 18288"/>
              <a:gd name="connsiteX24" fmla="*/ 6648031 w 10853928"/>
              <a:gd name="connsiteY24" fmla="*/ 18288 h 18288"/>
              <a:gd name="connsiteX25" fmla="*/ 6078200 w 10853928"/>
              <a:gd name="connsiteY25" fmla="*/ 18288 h 18288"/>
              <a:gd name="connsiteX26" fmla="*/ 5508368 w 10853928"/>
              <a:gd name="connsiteY26" fmla="*/ 18288 h 18288"/>
              <a:gd name="connsiteX27" fmla="*/ 4721459 w 10853928"/>
              <a:gd name="connsiteY27" fmla="*/ 18288 h 18288"/>
              <a:gd name="connsiteX28" fmla="*/ 4043088 w 10853928"/>
              <a:gd name="connsiteY28" fmla="*/ 18288 h 18288"/>
              <a:gd name="connsiteX29" fmla="*/ 3690336 w 10853928"/>
              <a:gd name="connsiteY29" fmla="*/ 18288 h 18288"/>
              <a:gd name="connsiteX30" fmla="*/ 3120504 w 10853928"/>
              <a:gd name="connsiteY30" fmla="*/ 18288 h 18288"/>
              <a:gd name="connsiteX31" fmla="*/ 2333595 w 10853928"/>
              <a:gd name="connsiteY31" fmla="*/ 18288 h 18288"/>
              <a:gd name="connsiteX32" fmla="*/ 1872303 w 10853928"/>
              <a:gd name="connsiteY32" fmla="*/ 18288 h 18288"/>
              <a:gd name="connsiteX33" fmla="*/ 976854 w 10853928"/>
              <a:gd name="connsiteY33" fmla="*/ 18288 h 18288"/>
              <a:gd name="connsiteX34" fmla="*/ 0 w 10853928"/>
              <a:gd name="connsiteY34" fmla="*/ 18288 h 18288"/>
              <a:gd name="connsiteX35" fmla="*/ 0 w 10853928"/>
              <a:gd name="connsiteY35" fmla="*/ 0 h 182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</a:cxnLst>
            <a:rect l="l" t="t" r="r" b="b"/>
            <a:pathLst>
              <a:path w="10853928" h="18288" fill="none" extrusionOk="0">
                <a:moveTo>
                  <a:pt x="0" y="0"/>
                </a:moveTo>
                <a:cubicBezTo>
                  <a:pt x="146993" y="-19076"/>
                  <a:pt x="347684" y="-4790"/>
                  <a:pt x="461292" y="0"/>
                </a:cubicBezTo>
                <a:cubicBezTo>
                  <a:pt x="574900" y="4790"/>
                  <a:pt x="808367" y="19821"/>
                  <a:pt x="1139662" y="0"/>
                </a:cubicBezTo>
                <a:cubicBezTo>
                  <a:pt x="1470957" y="-19821"/>
                  <a:pt x="1627405" y="5721"/>
                  <a:pt x="1926572" y="0"/>
                </a:cubicBezTo>
                <a:cubicBezTo>
                  <a:pt x="2225739" y="-5721"/>
                  <a:pt x="2137730" y="-3235"/>
                  <a:pt x="2279325" y="0"/>
                </a:cubicBezTo>
                <a:cubicBezTo>
                  <a:pt x="2420920" y="3235"/>
                  <a:pt x="2456518" y="9685"/>
                  <a:pt x="2632078" y="0"/>
                </a:cubicBezTo>
                <a:cubicBezTo>
                  <a:pt x="2807638" y="-9685"/>
                  <a:pt x="3211516" y="-43007"/>
                  <a:pt x="3527527" y="0"/>
                </a:cubicBezTo>
                <a:cubicBezTo>
                  <a:pt x="3843538" y="43007"/>
                  <a:pt x="4058833" y="22042"/>
                  <a:pt x="4205897" y="0"/>
                </a:cubicBezTo>
                <a:cubicBezTo>
                  <a:pt x="4352961" y="-22042"/>
                  <a:pt x="4474805" y="-11846"/>
                  <a:pt x="4558650" y="0"/>
                </a:cubicBezTo>
                <a:cubicBezTo>
                  <a:pt x="4642495" y="11846"/>
                  <a:pt x="5041928" y="-6069"/>
                  <a:pt x="5237020" y="0"/>
                </a:cubicBezTo>
                <a:cubicBezTo>
                  <a:pt x="5432112" y="6069"/>
                  <a:pt x="5943266" y="-17479"/>
                  <a:pt x="6132469" y="0"/>
                </a:cubicBezTo>
                <a:cubicBezTo>
                  <a:pt x="6321672" y="17479"/>
                  <a:pt x="6483872" y="26234"/>
                  <a:pt x="6702301" y="0"/>
                </a:cubicBezTo>
                <a:cubicBezTo>
                  <a:pt x="6920730" y="-26234"/>
                  <a:pt x="6991194" y="-15156"/>
                  <a:pt x="7272132" y="0"/>
                </a:cubicBezTo>
                <a:cubicBezTo>
                  <a:pt x="7553070" y="15156"/>
                  <a:pt x="7684444" y="-32961"/>
                  <a:pt x="7950502" y="0"/>
                </a:cubicBezTo>
                <a:cubicBezTo>
                  <a:pt x="8216560" y="32961"/>
                  <a:pt x="8493290" y="-10491"/>
                  <a:pt x="8737412" y="0"/>
                </a:cubicBezTo>
                <a:cubicBezTo>
                  <a:pt x="8981534" y="10491"/>
                  <a:pt x="9191586" y="-13899"/>
                  <a:pt x="9524322" y="0"/>
                </a:cubicBezTo>
                <a:cubicBezTo>
                  <a:pt x="9857058" y="13899"/>
                  <a:pt x="10297509" y="7485"/>
                  <a:pt x="10853928" y="0"/>
                </a:cubicBezTo>
                <a:cubicBezTo>
                  <a:pt x="10854574" y="4451"/>
                  <a:pt x="10854418" y="9226"/>
                  <a:pt x="10853928" y="18288"/>
                </a:cubicBezTo>
                <a:cubicBezTo>
                  <a:pt x="10691638" y="28522"/>
                  <a:pt x="10574319" y="29578"/>
                  <a:pt x="10392636" y="18288"/>
                </a:cubicBezTo>
                <a:cubicBezTo>
                  <a:pt x="10210953" y="6998"/>
                  <a:pt x="9836277" y="-16742"/>
                  <a:pt x="9497187" y="18288"/>
                </a:cubicBezTo>
                <a:cubicBezTo>
                  <a:pt x="9158097" y="53318"/>
                  <a:pt x="9119479" y="30714"/>
                  <a:pt x="8818817" y="18288"/>
                </a:cubicBezTo>
                <a:cubicBezTo>
                  <a:pt x="8518155" y="5863"/>
                  <a:pt x="8640037" y="6483"/>
                  <a:pt x="8466064" y="18288"/>
                </a:cubicBezTo>
                <a:cubicBezTo>
                  <a:pt x="8292091" y="30093"/>
                  <a:pt x="7997656" y="18914"/>
                  <a:pt x="7787693" y="18288"/>
                </a:cubicBezTo>
                <a:cubicBezTo>
                  <a:pt x="7577730" y="17662"/>
                  <a:pt x="7412468" y="21416"/>
                  <a:pt x="7217862" y="18288"/>
                </a:cubicBezTo>
                <a:cubicBezTo>
                  <a:pt x="7023256" y="15160"/>
                  <a:pt x="6898018" y="14824"/>
                  <a:pt x="6648031" y="18288"/>
                </a:cubicBezTo>
                <a:cubicBezTo>
                  <a:pt x="6398044" y="21752"/>
                  <a:pt x="6254402" y="38625"/>
                  <a:pt x="6078200" y="18288"/>
                </a:cubicBezTo>
                <a:cubicBezTo>
                  <a:pt x="5901998" y="-2049"/>
                  <a:pt x="5622886" y="3213"/>
                  <a:pt x="5508368" y="18288"/>
                </a:cubicBezTo>
                <a:cubicBezTo>
                  <a:pt x="5393850" y="33363"/>
                  <a:pt x="5036260" y="26830"/>
                  <a:pt x="4721459" y="18288"/>
                </a:cubicBezTo>
                <a:cubicBezTo>
                  <a:pt x="4406658" y="9746"/>
                  <a:pt x="4239221" y="41551"/>
                  <a:pt x="4043088" y="18288"/>
                </a:cubicBezTo>
                <a:cubicBezTo>
                  <a:pt x="3846955" y="-4975"/>
                  <a:pt x="3818802" y="34658"/>
                  <a:pt x="3690336" y="18288"/>
                </a:cubicBezTo>
                <a:cubicBezTo>
                  <a:pt x="3561870" y="1918"/>
                  <a:pt x="3265491" y="42194"/>
                  <a:pt x="3120504" y="18288"/>
                </a:cubicBezTo>
                <a:cubicBezTo>
                  <a:pt x="2975517" y="-5618"/>
                  <a:pt x="2720254" y="36673"/>
                  <a:pt x="2333595" y="18288"/>
                </a:cubicBezTo>
                <a:cubicBezTo>
                  <a:pt x="1946936" y="-97"/>
                  <a:pt x="2097241" y="5776"/>
                  <a:pt x="1872303" y="18288"/>
                </a:cubicBezTo>
                <a:cubicBezTo>
                  <a:pt x="1647365" y="30800"/>
                  <a:pt x="1282708" y="45380"/>
                  <a:pt x="976854" y="18288"/>
                </a:cubicBezTo>
                <a:cubicBezTo>
                  <a:pt x="671000" y="-8804"/>
                  <a:pt x="408401" y="-12775"/>
                  <a:pt x="0" y="18288"/>
                </a:cubicBezTo>
                <a:cubicBezTo>
                  <a:pt x="-213" y="9468"/>
                  <a:pt x="187" y="4459"/>
                  <a:pt x="0" y="0"/>
                </a:cubicBezTo>
                <a:close/>
              </a:path>
              <a:path w="10853928" h="18288" stroke="0" extrusionOk="0">
                <a:moveTo>
                  <a:pt x="0" y="0"/>
                </a:moveTo>
                <a:cubicBezTo>
                  <a:pt x="267322" y="15284"/>
                  <a:pt x="415388" y="-21048"/>
                  <a:pt x="569831" y="0"/>
                </a:cubicBezTo>
                <a:cubicBezTo>
                  <a:pt x="724274" y="21048"/>
                  <a:pt x="769333" y="-2353"/>
                  <a:pt x="922584" y="0"/>
                </a:cubicBezTo>
                <a:cubicBezTo>
                  <a:pt x="1075835" y="2353"/>
                  <a:pt x="1399490" y="-145"/>
                  <a:pt x="1818033" y="0"/>
                </a:cubicBezTo>
                <a:cubicBezTo>
                  <a:pt x="2236576" y="145"/>
                  <a:pt x="2145330" y="5482"/>
                  <a:pt x="2387864" y="0"/>
                </a:cubicBezTo>
                <a:cubicBezTo>
                  <a:pt x="2630398" y="-5482"/>
                  <a:pt x="2793207" y="18487"/>
                  <a:pt x="2957695" y="0"/>
                </a:cubicBezTo>
                <a:cubicBezTo>
                  <a:pt x="3122183" y="-18487"/>
                  <a:pt x="3579141" y="19003"/>
                  <a:pt x="3853144" y="0"/>
                </a:cubicBezTo>
                <a:cubicBezTo>
                  <a:pt x="4127147" y="-19003"/>
                  <a:pt x="4209857" y="12211"/>
                  <a:pt x="4314436" y="0"/>
                </a:cubicBezTo>
                <a:cubicBezTo>
                  <a:pt x="4419015" y="-12211"/>
                  <a:pt x="4762459" y="-17220"/>
                  <a:pt x="5209885" y="0"/>
                </a:cubicBezTo>
                <a:cubicBezTo>
                  <a:pt x="5657311" y="17220"/>
                  <a:pt x="5692663" y="-3290"/>
                  <a:pt x="6105335" y="0"/>
                </a:cubicBezTo>
                <a:cubicBezTo>
                  <a:pt x="6518007" y="3290"/>
                  <a:pt x="6455516" y="-5124"/>
                  <a:pt x="6783705" y="0"/>
                </a:cubicBezTo>
                <a:cubicBezTo>
                  <a:pt x="7111894" y="5124"/>
                  <a:pt x="7441941" y="-17829"/>
                  <a:pt x="7679154" y="0"/>
                </a:cubicBezTo>
                <a:cubicBezTo>
                  <a:pt x="7916367" y="17829"/>
                  <a:pt x="8102967" y="-24363"/>
                  <a:pt x="8248985" y="0"/>
                </a:cubicBezTo>
                <a:cubicBezTo>
                  <a:pt x="8395003" y="24363"/>
                  <a:pt x="8552393" y="25505"/>
                  <a:pt x="8818817" y="0"/>
                </a:cubicBezTo>
                <a:cubicBezTo>
                  <a:pt x="9085241" y="-25505"/>
                  <a:pt x="9411308" y="38000"/>
                  <a:pt x="9605726" y="0"/>
                </a:cubicBezTo>
                <a:cubicBezTo>
                  <a:pt x="9800144" y="-38000"/>
                  <a:pt x="10006468" y="-25741"/>
                  <a:pt x="10175558" y="0"/>
                </a:cubicBezTo>
                <a:cubicBezTo>
                  <a:pt x="10344648" y="25741"/>
                  <a:pt x="10696282" y="695"/>
                  <a:pt x="10853928" y="0"/>
                </a:cubicBezTo>
                <a:cubicBezTo>
                  <a:pt x="10853521" y="8690"/>
                  <a:pt x="10853774" y="14141"/>
                  <a:pt x="10853928" y="18288"/>
                </a:cubicBezTo>
                <a:cubicBezTo>
                  <a:pt x="10608124" y="24255"/>
                  <a:pt x="10343415" y="22307"/>
                  <a:pt x="10067018" y="18288"/>
                </a:cubicBezTo>
                <a:cubicBezTo>
                  <a:pt x="9790621" y="14270"/>
                  <a:pt x="9843266" y="3564"/>
                  <a:pt x="9714266" y="18288"/>
                </a:cubicBezTo>
                <a:cubicBezTo>
                  <a:pt x="9585266" y="33012"/>
                  <a:pt x="9379484" y="1875"/>
                  <a:pt x="9252974" y="18288"/>
                </a:cubicBezTo>
                <a:cubicBezTo>
                  <a:pt x="9126464" y="34701"/>
                  <a:pt x="8580678" y="-4904"/>
                  <a:pt x="8357525" y="18288"/>
                </a:cubicBezTo>
                <a:cubicBezTo>
                  <a:pt x="8134372" y="41480"/>
                  <a:pt x="7903199" y="26458"/>
                  <a:pt x="7679154" y="18288"/>
                </a:cubicBezTo>
                <a:cubicBezTo>
                  <a:pt x="7455109" y="10118"/>
                  <a:pt x="7435944" y="27109"/>
                  <a:pt x="7217862" y="18288"/>
                </a:cubicBezTo>
                <a:cubicBezTo>
                  <a:pt x="6999780" y="9467"/>
                  <a:pt x="6680409" y="18985"/>
                  <a:pt x="6539492" y="18288"/>
                </a:cubicBezTo>
                <a:cubicBezTo>
                  <a:pt x="6398575" y="17592"/>
                  <a:pt x="6312077" y="33018"/>
                  <a:pt x="6186739" y="18288"/>
                </a:cubicBezTo>
                <a:cubicBezTo>
                  <a:pt x="6061401" y="3558"/>
                  <a:pt x="5947033" y="12075"/>
                  <a:pt x="5833986" y="18288"/>
                </a:cubicBezTo>
                <a:cubicBezTo>
                  <a:pt x="5720939" y="24501"/>
                  <a:pt x="5482226" y="8586"/>
                  <a:pt x="5155616" y="18288"/>
                </a:cubicBezTo>
                <a:cubicBezTo>
                  <a:pt x="4829006" y="27991"/>
                  <a:pt x="4841274" y="29316"/>
                  <a:pt x="4694324" y="18288"/>
                </a:cubicBezTo>
                <a:cubicBezTo>
                  <a:pt x="4547374" y="7260"/>
                  <a:pt x="4077675" y="7013"/>
                  <a:pt x="3907414" y="18288"/>
                </a:cubicBezTo>
                <a:cubicBezTo>
                  <a:pt x="3737153" y="29564"/>
                  <a:pt x="3538393" y="21630"/>
                  <a:pt x="3446122" y="18288"/>
                </a:cubicBezTo>
                <a:cubicBezTo>
                  <a:pt x="3353851" y="14946"/>
                  <a:pt x="2990320" y="-8091"/>
                  <a:pt x="2659212" y="18288"/>
                </a:cubicBezTo>
                <a:cubicBezTo>
                  <a:pt x="2328104" y="44667"/>
                  <a:pt x="2427653" y="9607"/>
                  <a:pt x="2306460" y="18288"/>
                </a:cubicBezTo>
                <a:cubicBezTo>
                  <a:pt x="2185267" y="26969"/>
                  <a:pt x="1719763" y="3717"/>
                  <a:pt x="1519550" y="18288"/>
                </a:cubicBezTo>
                <a:cubicBezTo>
                  <a:pt x="1319337" y="32860"/>
                  <a:pt x="1167371" y="17040"/>
                  <a:pt x="1058258" y="18288"/>
                </a:cubicBezTo>
                <a:cubicBezTo>
                  <a:pt x="949145" y="19536"/>
                  <a:pt x="780234" y="31447"/>
                  <a:pt x="705505" y="18288"/>
                </a:cubicBezTo>
                <a:cubicBezTo>
                  <a:pt x="630776" y="5129"/>
                  <a:pt x="215796" y="30056"/>
                  <a:pt x="0" y="18288"/>
                </a:cubicBezTo>
                <a:cubicBezTo>
                  <a:pt x="-53" y="11301"/>
                  <a:pt x="-649" y="7756"/>
                  <a:pt x="0" y="0"/>
                </a:cubicBezTo>
                <a:close/>
              </a:path>
            </a:pathLst>
          </a:custGeom>
          <a:solidFill>
            <a:schemeClr val="accent2"/>
          </a:solidFill>
          <a:ln w="41275" cap="rnd">
            <a:solidFill>
              <a:schemeClr val="accent2"/>
            </a:solidFill>
            <a:round/>
            <a:extLst>
              <a:ext uri="{C807C97D-BFC1-408E-A445-0C87EB9F89A2}">
                <ask:lineSketchStyleProps xmlns:ask="http://schemas.microsoft.com/office/drawing/2018/sketchyshapes" sd="1219033472">
                  <a:prstGeom prst="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9FA71A85-160A-4CFF-9241-BA71D421B86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51671" y="1690688"/>
            <a:ext cx="11652308" cy="4872318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fr-FR" sz="15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 </a:t>
            </a:r>
          </a:p>
          <a:p>
            <a:pPr marL="0" indent="0" algn="just">
              <a:buNone/>
            </a:pPr>
            <a:endParaRPr lang="fr-FR" sz="1500" dirty="0"/>
          </a:p>
        </p:txBody>
      </p:sp>
      <p:graphicFrame>
        <p:nvGraphicFramePr>
          <p:cNvPr id="6" name="Tableau 5">
            <a:extLst>
              <a:ext uri="{FF2B5EF4-FFF2-40B4-BE49-F238E27FC236}">
                <a16:creationId xmlns:a16="http://schemas.microsoft.com/office/drawing/2014/main" id="{90B6971D-E1FB-42BE-A7E9-5FA4D585EE9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1772139"/>
              </p:ext>
            </p:extLst>
          </p:nvPr>
        </p:nvGraphicFramePr>
        <p:xfrm>
          <a:off x="586409" y="2256183"/>
          <a:ext cx="11082130" cy="3819806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396241">
                  <a:extLst>
                    <a:ext uri="{9D8B030D-6E8A-4147-A177-3AD203B41FA5}">
                      <a16:colId xmlns:a16="http://schemas.microsoft.com/office/drawing/2014/main" val="3473692553"/>
                    </a:ext>
                  </a:extLst>
                </a:gridCol>
                <a:gridCol w="2488756">
                  <a:extLst>
                    <a:ext uri="{9D8B030D-6E8A-4147-A177-3AD203B41FA5}">
                      <a16:colId xmlns:a16="http://schemas.microsoft.com/office/drawing/2014/main" val="4252779104"/>
                    </a:ext>
                  </a:extLst>
                </a:gridCol>
                <a:gridCol w="1231348">
                  <a:extLst>
                    <a:ext uri="{9D8B030D-6E8A-4147-A177-3AD203B41FA5}">
                      <a16:colId xmlns:a16="http://schemas.microsoft.com/office/drawing/2014/main" val="1970955883"/>
                    </a:ext>
                  </a:extLst>
                </a:gridCol>
                <a:gridCol w="2479635">
                  <a:extLst>
                    <a:ext uri="{9D8B030D-6E8A-4147-A177-3AD203B41FA5}">
                      <a16:colId xmlns:a16="http://schemas.microsoft.com/office/drawing/2014/main" val="3046352800"/>
                    </a:ext>
                  </a:extLst>
                </a:gridCol>
                <a:gridCol w="2486150">
                  <a:extLst>
                    <a:ext uri="{9D8B030D-6E8A-4147-A177-3AD203B41FA5}">
                      <a16:colId xmlns:a16="http://schemas.microsoft.com/office/drawing/2014/main" val="3202338962"/>
                    </a:ext>
                  </a:extLst>
                </a:gridCol>
              </a:tblGrid>
              <a:tr h="1132400">
                <a:tc gridSpan="2">
                  <a:txBody>
                    <a:bodyPr/>
                    <a:lstStyle/>
                    <a:p>
                      <a:pPr algn="ctr"/>
                      <a:r>
                        <a:rPr lang="fr-FR" sz="2800" u="none" dirty="0">
                          <a:effectLst/>
                        </a:rPr>
                        <a:t>607 Achat de marchandises</a:t>
                      </a:r>
                      <a:endParaRPr lang="fr-FR" sz="2800" u="none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2800" dirty="0">
                          <a:effectLst/>
                        </a:rPr>
                        <a:t> </a:t>
                      </a:r>
                      <a:endParaRPr lang="fr-FR" sz="28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fr-FR" sz="2800" dirty="0">
                          <a:effectLst/>
                        </a:rPr>
                        <a:t>512 Banque</a:t>
                      </a:r>
                      <a:endParaRPr lang="fr-FR" sz="28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83238750"/>
                  </a:ext>
                </a:extLst>
              </a:tr>
              <a:tr h="1342536">
                <a:tc>
                  <a:txBody>
                    <a:bodyPr/>
                    <a:lstStyle/>
                    <a:p>
                      <a:pPr algn="ctr"/>
                      <a:r>
                        <a:rPr lang="fr-FR" sz="2800" dirty="0">
                          <a:effectLst/>
                        </a:rPr>
                        <a:t>Débit</a:t>
                      </a:r>
                      <a:endParaRPr lang="fr-FR" sz="28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2800" dirty="0">
                          <a:effectLst/>
                        </a:rPr>
                        <a:t>Crédit</a:t>
                      </a:r>
                      <a:endParaRPr lang="fr-FR" sz="28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2800">
                          <a:effectLst/>
                        </a:rPr>
                        <a:t> </a:t>
                      </a:r>
                      <a:endParaRPr lang="fr-FR" sz="28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2800" dirty="0">
                          <a:effectLst/>
                        </a:rPr>
                        <a:t>Débit</a:t>
                      </a:r>
                      <a:endParaRPr lang="fr-FR" sz="28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2800" dirty="0">
                          <a:effectLst/>
                        </a:rPr>
                        <a:t>Crédit</a:t>
                      </a:r>
                      <a:endParaRPr lang="fr-FR" sz="28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/>
                </a:tc>
                <a:extLst>
                  <a:ext uri="{0D108BD9-81ED-4DB2-BD59-A6C34878D82A}">
                    <a16:rowId xmlns:a16="http://schemas.microsoft.com/office/drawing/2014/main" val="1232141290"/>
                  </a:ext>
                </a:extLst>
              </a:tr>
              <a:tr h="448290">
                <a:tc>
                  <a:txBody>
                    <a:bodyPr/>
                    <a:lstStyle/>
                    <a:p>
                      <a:pPr algn="just"/>
                      <a:r>
                        <a:rPr lang="fr-FR" sz="2800">
                          <a:effectLst/>
                        </a:rPr>
                        <a:t> </a:t>
                      </a:r>
                      <a:endParaRPr lang="fr-FR" sz="28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/>
                </a:tc>
                <a:tc>
                  <a:txBody>
                    <a:bodyPr/>
                    <a:lstStyle/>
                    <a:p>
                      <a:pPr algn="just"/>
                      <a:r>
                        <a:rPr lang="fr-FR" sz="2800" dirty="0">
                          <a:effectLst/>
                        </a:rPr>
                        <a:t> </a:t>
                      </a:r>
                      <a:endParaRPr lang="fr-FR" sz="28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/>
                </a:tc>
                <a:tc>
                  <a:txBody>
                    <a:bodyPr/>
                    <a:lstStyle/>
                    <a:p>
                      <a:pPr algn="just"/>
                      <a:r>
                        <a:rPr lang="fr-FR" sz="2800">
                          <a:effectLst/>
                        </a:rPr>
                        <a:t> </a:t>
                      </a:r>
                      <a:endParaRPr lang="fr-FR" sz="28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/>
                </a:tc>
                <a:tc>
                  <a:txBody>
                    <a:bodyPr/>
                    <a:lstStyle/>
                    <a:p>
                      <a:pPr algn="just"/>
                      <a:r>
                        <a:rPr lang="fr-FR" sz="2800">
                          <a:effectLst/>
                        </a:rPr>
                        <a:t> </a:t>
                      </a:r>
                      <a:endParaRPr lang="fr-FR" sz="28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/>
                </a:tc>
                <a:tc>
                  <a:txBody>
                    <a:bodyPr/>
                    <a:lstStyle/>
                    <a:p>
                      <a:pPr algn="just"/>
                      <a:r>
                        <a:rPr lang="fr-FR" sz="2800" dirty="0">
                          <a:effectLst/>
                        </a:rPr>
                        <a:t> </a:t>
                      </a:r>
                      <a:endParaRPr lang="fr-FR" sz="28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/>
                </a:tc>
                <a:extLst>
                  <a:ext uri="{0D108BD9-81ED-4DB2-BD59-A6C34878D82A}">
                    <a16:rowId xmlns:a16="http://schemas.microsoft.com/office/drawing/2014/main" val="2726700702"/>
                  </a:ext>
                </a:extLst>
              </a:tr>
              <a:tr h="448290">
                <a:tc>
                  <a:txBody>
                    <a:bodyPr/>
                    <a:lstStyle/>
                    <a:p>
                      <a:pPr algn="just"/>
                      <a:r>
                        <a:rPr lang="fr-FR" sz="2800">
                          <a:effectLst/>
                        </a:rPr>
                        <a:t>100 000,00</a:t>
                      </a:r>
                      <a:endParaRPr lang="fr-FR" sz="28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/>
                </a:tc>
                <a:tc>
                  <a:txBody>
                    <a:bodyPr/>
                    <a:lstStyle/>
                    <a:p>
                      <a:pPr algn="just"/>
                      <a:r>
                        <a:rPr lang="fr-FR" sz="2800" dirty="0">
                          <a:effectLst/>
                        </a:rPr>
                        <a:t> </a:t>
                      </a:r>
                      <a:endParaRPr lang="fr-FR" sz="28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/>
                </a:tc>
                <a:tc>
                  <a:txBody>
                    <a:bodyPr/>
                    <a:lstStyle/>
                    <a:p>
                      <a:pPr algn="just"/>
                      <a:r>
                        <a:rPr lang="fr-FR" sz="2800">
                          <a:effectLst/>
                        </a:rPr>
                        <a:t> </a:t>
                      </a:r>
                      <a:endParaRPr lang="fr-FR" sz="28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/>
                </a:tc>
                <a:tc>
                  <a:txBody>
                    <a:bodyPr/>
                    <a:lstStyle/>
                    <a:p>
                      <a:pPr algn="just"/>
                      <a:r>
                        <a:rPr lang="fr-FR" sz="2800">
                          <a:effectLst/>
                        </a:rPr>
                        <a:t> </a:t>
                      </a:r>
                      <a:endParaRPr lang="fr-FR" sz="28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/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2800" dirty="0">
                          <a:effectLst/>
                        </a:rPr>
                        <a:t>100 000,00</a:t>
                      </a:r>
                      <a:endParaRPr lang="fr-FR" sz="28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/>
                </a:tc>
                <a:extLst>
                  <a:ext uri="{0D108BD9-81ED-4DB2-BD59-A6C34878D82A}">
                    <a16:rowId xmlns:a16="http://schemas.microsoft.com/office/drawing/2014/main" val="1306211351"/>
                  </a:ext>
                </a:extLst>
              </a:tr>
              <a:tr h="448290">
                <a:tc>
                  <a:txBody>
                    <a:bodyPr/>
                    <a:lstStyle/>
                    <a:p>
                      <a:pPr algn="just"/>
                      <a:r>
                        <a:rPr lang="fr-FR" sz="2800">
                          <a:effectLst/>
                        </a:rPr>
                        <a:t> </a:t>
                      </a:r>
                      <a:endParaRPr lang="fr-FR" sz="28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/>
                </a:tc>
                <a:tc>
                  <a:txBody>
                    <a:bodyPr/>
                    <a:lstStyle/>
                    <a:p>
                      <a:pPr algn="just"/>
                      <a:r>
                        <a:rPr lang="fr-FR" sz="2800" dirty="0">
                          <a:effectLst/>
                        </a:rPr>
                        <a:t> </a:t>
                      </a:r>
                      <a:endParaRPr lang="fr-FR" sz="28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/>
                </a:tc>
                <a:tc>
                  <a:txBody>
                    <a:bodyPr/>
                    <a:lstStyle/>
                    <a:p>
                      <a:pPr algn="just"/>
                      <a:r>
                        <a:rPr lang="fr-FR" sz="2800" dirty="0">
                          <a:effectLst/>
                        </a:rPr>
                        <a:t> </a:t>
                      </a:r>
                      <a:endParaRPr lang="fr-FR" sz="28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/>
                </a:tc>
                <a:tc>
                  <a:txBody>
                    <a:bodyPr/>
                    <a:lstStyle/>
                    <a:p>
                      <a:pPr algn="just"/>
                      <a:r>
                        <a:rPr lang="fr-FR" sz="2800">
                          <a:effectLst/>
                        </a:rPr>
                        <a:t> </a:t>
                      </a:r>
                      <a:endParaRPr lang="fr-FR" sz="28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/>
                </a:tc>
                <a:tc>
                  <a:txBody>
                    <a:bodyPr/>
                    <a:lstStyle/>
                    <a:p>
                      <a:pPr algn="just"/>
                      <a:r>
                        <a:rPr lang="fr-FR" sz="2800" dirty="0">
                          <a:effectLst/>
                        </a:rPr>
                        <a:t> </a:t>
                      </a:r>
                      <a:endParaRPr lang="fr-FR" sz="28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/>
                </a:tc>
                <a:extLst>
                  <a:ext uri="{0D108BD9-81ED-4DB2-BD59-A6C34878D82A}">
                    <a16:rowId xmlns:a16="http://schemas.microsoft.com/office/drawing/2014/main" val="394645796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62758596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7" name="Rectangle 16">
            <a:extLst>
              <a:ext uri="{FF2B5EF4-FFF2-40B4-BE49-F238E27FC236}">
                <a16:creationId xmlns:a16="http://schemas.microsoft.com/office/drawing/2014/main" id="{100EDD19-6802-4EC3-95CE-CFFAB042CFD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AEFCB68E-E041-4E46-A233-3C2208DA32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1671" y="365125"/>
            <a:ext cx="11102129" cy="1325563"/>
          </a:xfrm>
        </p:spPr>
        <p:txBody>
          <a:bodyPr>
            <a:normAutofit/>
          </a:bodyPr>
          <a:lstStyle/>
          <a:p>
            <a:r>
              <a:rPr lang="fr-FR" sz="5400" dirty="0"/>
              <a:t>Comptabilisation – Méthode </a:t>
            </a:r>
          </a:p>
        </p:txBody>
      </p:sp>
      <p:sp>
        <p:nvSpPr>
          <p:cNvPr id="19" name="sketch line">
            <a:extLst>
              <a:ext uri="{FF2B5EF4-FFF2-40B4-BE49-F238E27FC236}">
                <a16:creationId xmlns:a16="http://schemas.microsoft.com/office/drawing/2014/main" id="{DB17E863-922E-4C26-BD64-E8FD41D2866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669036" y="1677373"/>
            <a:ext cx="10853928" cy="18288"/>
          </a:xfrm>
          <a:custGeom>
            <a:avLst/>
            <a:gdLst>
              <a:gd name="connsiteX0" fmla="*/ 0 w 10853928"/>
              <a:gd name="connsiteY0" fmla="*/ 0 h 18288"/>
              <a:gd name="connsiteX1" fmla="*/ 461292 w 10853928"/>
              <a:gd name="connsiteY1" fmla="*/ 0 h 18288"/>
              <a:gd name="connsiteX2" fmla="*/ 1139662 w 10853928"/>
              <a:gd name="connsiteY2" fmla="*/ 0 h 18288"/>
              <a:gd name="connsiteX3" fmla="*/ 1926572 w 10853928"/>
              <a:gd name="connsiteY3" fmla="*/ 0 h 18288"/>
              <a:gd name="connsiteX4" fmla="*/ 2279325 w 10853928"/>
              <a:gd name="connsiteY4" fmla="*/ 0 h 18288"/>
              <a:gd name="connsiteX5" fmla="*/ 2632078 w 10853928"/>
              <a:gd name="connsiteY5" fmla="*/ 0 h 18288"/>
              <a:gd name="connsiteX6" fmla="*/ 3527527 w 10853928"/>
              <a:gd name="connsiteY6" fmla="*/ 0 h 18288"/>
              <a:gd name="connsiteX7" fmla="*/ 4205897 w 10853928"/>
              <a:gd name="connsiteY7" fmla="*/ 0 h 18288"/>
              <a:gd name="connsiteX8" fmla="*/ 4558650 w 10853928"/>
              <a:gd name="connsiteY8" fmla="*/ 0 h 18288"/>
              <a:gd name="connsiteX9" fmla="*/ 5237020 w 10853928"/>
              <a:gd name="connsiteY9" fmla="*/ 0 h 18288"/>
              <a:gd name="connsiteX10" fmla="*/ 6132469 w 10853928"/>
              <a:gd name="connsiteY10" fmla="*/ 0 h 18288"/>
              <a:gd name="connsiteX11" fmla="*/ 6702301 w 10853928"/>
              <a:gd name="connsiteY11" fmla="*/ 0 h 18288"/>
              <a:gd name="connsiteX12" fmla="*/ 7272132 w 10853928"/>
              <a:gd name="connsiteY12" fmla="*/ 0 h 18288"/>
              <a:gd name="connsiteX13" fmla="*/ 7950502 w 10853928"/>
              <a:gd name="connsiteY13" fmla="*/ 0 h 18288"/>
              <a:gd name="connsiteX14" fmla="*/ 8737412 w 10853928"/>
              <a:gd name="connsiteY14" fmla="*/ 0 h 18288"/>
              <a:gd name="connsiteX15" fmla="*/ 9524322 w 10853928"/>
              <a:gd name="connsiteY15" fmla="*/ 0 h 18288"/>
              <a:gd name="connsiteX16" fmla="*/ 10853928 w 10853928"/>
              <a:gd name="connsiteY16" fmla="*/ 0 h 18288"/>
              <a:gd name="connsiteX17" fmla="*/ 10853928 w 10853928"/>
              <a:gd name="connsiteY17" fmla="*/ 18288 h 18288"/>
              <a:gd name="connsiteX18" fmla="*/ 10392636 w 10853928"/>
              <a:gd name="connsiteY18" fmla="*/ 18288 h 18288"/>
              <a:gd name="connsiteX19" fmla="*/ 9497187 w 10853928"/>
              <a:gd name="connsiteY19" fmla="*/ 18288 h 18288"/>
              <a:gd name="connsiteX20" fmla="*/ 8818817 w 10853928"/>
              <a:gd name="connsiteY20" fmla="*/ 18288 h 18288"/>
              <a:gd name="connsiteX21" fmla="*/ 8466064 w 10853928"/>
              <a:gd name="connsiteY21" fmla="*/ 18288 h 18288"/>
              <a:gd name="connsiteX22" fmla="*/ 7787693 w 10853928"/>
              <a:gd name="connsiteY22" fmla="*/ 18288 h 18288"/>
              <a:gd name="connsiteX23" fmla="*/ 7217862 w 10853928"/>
              <a:gd name="connsiteY23" fmla="*/ 18288 h 18288"/>
              <a:gd name="connsiteX24" fmla="*/ 6648031 w 10853928"/>
              <a:gd name="connsiteY24" fmla="*/ 18288 h 18288"/>
              <a:gd name="connsiteX25" fmla="*/ 6078200 w 10853928"/>
              <a:gd name="connsiteY25" fmla="*/ 18288 h 18288"/>
              <a:gd name="connsiteX26" fmla="*/ 5508368 w 10853928"/>
              <a:gd name="connsiteY26" fmla="*/ 18288 h 18288"/>
              <a:gd name="connsiteX27" fmla="*/ 4721459 w 10853928"/>
              <a:gd name="connsiteY27" fmla="*/ 18288 h 18288"/>
              <a:gd name="connsiteX28" fmla="*/ 4043088 w 10853928"/>
              <a:gd name="connsiteY28" fmla="*/ 18288 h 18288"/>
              <a:gd name="connsiteX29" fmla="*/ 3690336 w 10853928"/>
              <a:gd name="connsiteY29" fmla="*/ 18288 h 18288"/>
              <a:gd name="connsiteX30" fmla="*/ 3120504 w 10853928"/>
              <a:gd name="connsiteY30" fmla="*/ 18288 h 18288"/>
              <a:gd name="connsiteX31" fmla="*/ 2333595 w 10853928"/>
              <a:gd name="connsiteY31" fmla="*/ 18288 h 18288"/>
              <a:gd name="connsiteX32" fmla="*/ 1872303 w 10853928"/>
              <a:gd name="connsiteY32" fmla="*/ 18288 h 18288"/>
              <a:gd name="connsiteX33" fmla="*/ 976854 w 10853928"/>
              <a:gd name="connsiteY33" fmla="*/ 18288 h 18288"/>
              <a:gd name="connsiteX34" fmla="*/ 0 w 10853928"/>
              <a:gd name="connsiteY34" fmla="*/ 18288 h 18288"/>
              <a:gd name="connsiteX35" fmla="*/ 0 w 10853928"/>
              <a:gd name="connsiteY35" fmla="*/ 0 h 182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</a:cxnLst>
            <a:rect l="l" t="t" r="r" b="b"/>
            <a:pathLst>
              <a:path w="10853928" h="18288" fill="none" extrusionOk="0">
                <a:moveTo>
                  <a:pt x="0" y="0"/>
                </a:moveTo>
                <a:cubicBezTo>
                  <a:pt x="146993" y="-19076"/>
                  <a:pt x="347684" y="-4790"/>
                  <a:pt x="461292" y="0"/>
                </a:cubicBezTo>
                <a:cubicBezTo>
                  <a:pt x="574900" y="4790"/>
                  <a:pt x="808367" y="19821"/>
                  <a:pt x="1139662" y="0"/>
                </a:cubicBezTo>
                <a:cubicBezTo>
                  <a:pt x="1470957" y="-19821"/>
                  <a:pt x="1627405" y="5721"/>
                  <a:pt x="1926572" y="0"/>
                </a:cubicBezTo>
                <a:cubicBezTo>
                  <a:pt x="2225739" y="-5721"/>
                  <a:pt x="2137730" y="-3235"/>
                  <a:pt x="2279325" y="0"/>
                </a:cubicBezTo>
                <a:cubicBezTo>
                  <a:pt x="2420920" y="3235"/>
                  <a:pt x="2456518" y="9685"/>
                  <a:pt x="2632078" y="0"/>
                </a:cubicBezTo>
                <a:cubicBezTo>
                  <a:pt x="2807638" y="-9685"/>
                  <a:pt x="3211516" y="-43007"/>
                  <a:pt x="3527527" y="0"/>
                </a:cubicBezTo>
                <a:cubicBezTo>
                  <a:pt x="3843538" y="43007"/>
                  <a:pt x="4058833" y="22042"/>
                  <a:pt x="4205897" y="0"/>
                </a:cubicBezTo>
                <a:cubicBezTo>
                  <a:pt x="4352961" y="-22042"/>
                  <a:pt x="4474805" y="-11846"/>
                  <a:pt x="4558650" y="0"/>
                </a:cubicBezTo>
                <a:cubicBezTo>
                  <a:pt x="4642495" y="11846"/>
                  <a:pt x="5041928" y="-6069"/>
                  <a:pt x="5237020" y="0"/>
                </a:cubicBezTo>
                <a:cubicBezTo>
                  <a:pt x="5432112" y="6069"/>
                  <a:pt x="5943266" y="-17479"/>
                  <a:pt x="6132469" y="0"/>
                </a:cubicBezTo>
                <a:cubicBezTo>
                  <a:pt x="6321672" y="17479"/>
                  <a:pt x="6483872" y="26234"/>
                  <a:pt x="6702301" y="0"/>
                </a:cubicBezTo>
                <a:cubicBezTo>
                  <a:pt x="6920730" y="-26234"/>
                  <a:pt x="6991194" y="-15156"/>
                  <a:pt x="7272132" y="0"/>
                </a:cubicBezTo>
                <a:cubicBezTo>
                  <a:pt x="7553070" y="15156"/>
                  <a:pt x="7684444" y="-32961"/>
                  <a:pt x="7950502" y="0"/>
                </a:cubicBezTo>
                <a:cubicBezTo>
                  <a:pt x="8216560" y="32961"/>
                  <a:pt x="8493290" y="-10491"/>
                  <a:pt x="8737412" y="0"/>
                </a:cubicBezTo>
                <a:cubicBezTo>
                  <a:pt x="8981534" y="10491"/>
                  <a:pt x="9191586" y="-13899"/>
                  <a:pt x="9524322" y="0"/>
                </a:cubicBezTo>
                <a:cubicBezTo>
                  <a:pt x="9857058" y="13899"/>
                  <a:pt x="10297509" y="7485"/>
                  <a:pt x="10853928" y="0"/>
                </a:cubicBezTo>
                <a:cubicBezTo>
                  <a:pt x="10854574" y="4451"/>
                  <a:pt x="10854418" y="9226"/>
                  <a:pt x="10853928" y="18288"/>
                </a:cubicBezTo>
                <a:cubicBezTo>
                  <a:pt x="10691638" y="28522"/>
                  <a:pt x="10574319" y="29578"/>
                  <a:pt x="10392636" y="18288"/>
                </a:cubicBezTo>
                <a:cubicBezTo>
                  <a:pt x="10210953" y="6998"/>
                  <a:pt x="9836277" y="-16742"/>
                  <a:pt x="9497187" y="18288"/>
                </a:cubicBezTo>
                <a:cubicBezTo>
                  <a:pt x="9158097" y="53318"/>
                  <a:pt x="9119479" y="30714"/>
                  <a:pt x="8818817" y="18288"/>
                </a:cubicBezTo>
                <a:cubicBezTo>
                  <a:pt x="8518155" y="5863"/>
                  <a:pt x="8640037" y="6483"/>
                  <a:pt x="8466064" y="18288"/>
                </a:cubicBezTo>
                <a:cubicBezTo>
                  <a:pt x="8292091" y="30093"/>
                  <a:pt x="7997656" y="18914"/>
                  <a:pt x="7787693" y="18288"/>
                </a:cubicBezTo>
                <a:cubicBezTo>
                  <a:pt x="7577730" y="17662"/>
                  <a:pt x="7412468" y="21416"/>
                  <a:pt x="7217862" y="18288"/>
                </a:cubicBezTo>
                <a:cubicBezTo>
                  <a:pt x="7023256" y="15160"/>
                  <a:pt x="6898018" y="14824"/>
                  <a:pt x="6648031" y="18288"/>
                </a:cubicBezTo>
                <a:cubicBezTo>
                  <a:pt x="6398044" y="21752"/>
                  <a:pt x="6254402" y="38625"/>
                  <a:pt x="6078200" y="18288"/>
                </a:cubicBezTo>
                <a:cubicBezTo>
                  <a:pt x="5901998" y="-2049"/>
                  <a:pt x="5622886" y="3213"/>
                  <a:pt x="5508368" y="18288"/>
                </a:cubicBezTo>
                <a:cubicBezTo>
                  <a:pt x="5393850" y="33363"/>
                  <a:pt x="5036260" y="26830"/>
                  <a:pt x="4721459" y="18288"/>
                </a:cubicBezTo>
                <a:cubicBezTo>
                  <a:pt x="4406658" y="9746"/>
                  <a:pt x="4239221" y="41551"/>
                  <a:pt x="4043088" y="18288"/>
                </a:cubicBezTo>
                <a:cubicBezTo>
                  <a:pt x="3846955" y="-4975"/>
                  <a:pt x="3818802" y="34658"/>
                  <a:pt x="3690336" y="18288"/>
                </a:cubicBezTo>
                <a:cubicBezTo>
                  <a:pt x="3561870" y="1918"/>
                  <a:pt x="3265491" y="42194"/>
                  <a:pt x="3120504" y="18288"/>
                </a:cubicBezTo>
                <a:cubicBezTo>
                  <a:pt x="2975517" y="-5618"/>
                  <a:pt x="2720254" y="36673"/>
                  <a:pt x="2333595" y="18288"/>
                </a:cubicBezTo>
                <a:cubicBezTo>
                  <a:pt x="1946936" y="-97"/>
                  <a:pt x="2097241" y="5776"/>
                  <a:pt x="1872303" y="18288"/>
                </a:cubicBezTo>
                <a:cubicBezTo>
                  <a:pt x="1647365" y="30800"/>
                  <a:pt x="1282708" y="45380"/>
                  <a:pt x="976854" y="18288"/>
                </a:cubicBezTo>
                <a:cubicBezTo>
                  <a:pt x="671000" y="-8804"/>
                  <a:pt x="408401" y="-12775"/>
                  <a:pt x="0" y="18288"/>
                </a:cubicBezTo>
                <a:cubicBezTo>
                  <a:pt x="-213" y="9468"/>
                  <a:pt x="187" y="4459"/>
                  <a:pt x="0" y="0"/>
                </a:cubicBezTo>
                <a:close/>
              </a:path>
              <a:path w="10853928" h="18288" stroke="0" extrusionOk="0">
                <a:moveTo>
                  <a:pt x="0" y="0"/>
                </a:moveTo>
                <a:cubicBezTo>
                  <a:pt x="267322" y="15284"/>
                  <a:pt x="415388" y="-21048"/>
                  <a:pt x="569831" y="0"/>
                </a:cubicBezTo>
                <a:cubicBezTo>
                  <a:pt x="724274" y="21048"/>
                  <a:pt x="769333" y="-2353"/>
                  <a:pt x="922584" y="0"/>
                </a:cubicBezTo>
                <a:cubicBezTo>
                  <a:pt x="1075835" y="2353"/>
                  <a:pt x="1399490" y="-145"/>
                  <a:pt x="1818033" y="0"/>
                </a:cubicBezTo>
                <a:cubicBezTo>
                  <a:pt x="2236576" y="145"/>
                  <a:pt x="2145330" y="5482"/>
                  <a:pt x="2387864" y="0"/>
                </a:cubicBezTo>
                <a:cubicBezTo>
                  <a:pt x="2630398" y="-5482"/>
                  <a:pt x="2793207" y="18487"/>
                  <a:pt x="2957695" y="0"/>
                </a:cubicBezTo>
                <a:cubicBezTo>
                  <a:pt x="3122183" y="-18487"/>
                  <a:pt x="3579141" y="19003"/>
                  <a:pt x="3853144" y="0"/>
                </a:cubicBezTo>
                <a:cubicBezTo>
                  <a:pt x="4127147" y="-19003"/>
                  <a:pt x="4209857" y="12211"/>
                  <a:pt x="4314436" y="0"/>
                </a:cubicBezTo>
                <a:cubicBezTo>
                  <a:pt x="4419015" y="-12211"/>
                  <a:pt x="4762459" y="-17220"/>
                  <a:pt x="5209885" y="0"/>
                </a:cubicBezTo>
                <a:cubicBezTo>
                  <a:pt x="5657311" y="17220"/>
                  <a:pt x="5692663" y="-3290"/>
                  <a:pt x="6105335" y="0"/>
                </a:cubicBezTo>
                <a:cubicBezTo>
                  <a:pt x="6518007" y="3290"/>
                  <a:pt x="6455516" y="-5124"/>
                  <a:pt x="6783705" y="0"/>
                </a:cubicBezTo>
                <a:cubicBezTo>
                  <a:pt x="7111894" y="5124"/>
                  <a:pt x="7441941" y="-17829"/>
                  <a:pt x="7679154" y="0"/>
                </a:cubicBezTo>
                <a:cubicBezTo>
                  <a:pt x="7916367" y="17829"/>
                  <a:pt x="8102967" y="-24363"/>
                  <a:pt x="8248985" y="0"/>
                </a:cubicBezTo>
                <a:cubicBezTo>
                  <a:pt x="8395003" y="24363"/>
                  <a:pt x="8552393" y="25505"/>
                  <a:pt x="8818817" y="0"/>
                </a:cubicBezTo>
                <a:cubicBezTo>
                  <a:pt x="9085241" y="-25505"/>
                  <a:pt x="9411308" y="38000"/>
                  <a:pt x="9605726" y="0"/>
                </a:cubicBezTo>
                <a:cubicBezTo>
                  <a:pt x="9800144" y="-38000"/>
                  <a:pt x="10006468" y="-25741"/>
                  <a:pt x="10175558" y="0"/>
                </a:cubicBezTo>
                <a:cubicBezTo>
                  <a:pt x="10344648" y="25741"/>
                  <a:pt x="10696282" y="695"/>
                  <a:pt x="10853928" y="0"/>
                </a:cubicBezTo>
                <a:cubicBezTo>
                  <a:pt x="10853521" y="8690"/>
                  <a:pt x="10853774" y="14141"/>
                  <a:pt x="10853928" y="18288"/>
                </a:cubicBezTo>
                <a:cubicBezTo>
                  <a:pt x="10608124" y="24255"/>
                  <a:pt x="10343415" y="22307"/>
                  <a:pt x="10067018" y="18288"/>
                </a:cubicBezTo>
                <a:cubicBezTo>
                  <a:pt x="9790621" y="14270"/>
                  <a:pt x="9843266" y="3564"/>
                  <a:pt x="9714266" y="18288"/>
                </a:cubicBezTo>
                <a:cubicBezTo>
                  <a:pt x="9585266" y="33012"/>
                  <a:pt x="9379484" y="1875"/>
                  <a:pt x="9252974" y="18288"/>
                </a:cubicBezTo>
                <a:cubicBezTo>
                  <a:pt x="9126464" y="34701"/>
                  <a:pt x="8580678" y="-4904"/>
                  <a:pt x="8357525" y="18288"/>
                </a:cubicBezTo>
                <a:cubicBezTo>
                  <a:pt x="8134372" y="41480"/>
                  <a:pt x="7903199" y="26458"/>
                  <a:pt x="7679154" y="18288"/>
                </a:cubicBezTo>
                <a:cubicBezTo>
                  <a:pt x="7455109" y="10118"/>
                  <a:pt x="7435944" y="27109"/>
                  <a:pt x="7217862" y="18288"/>
                </a:cubicBezTo>
                <a:cubicBezTo>
                  <a:pt x="6999780" y="9467"/>
                  <a:pt x="6680409" y="18985"/>
                  <a:pt x="6539492" y="18288"/>
                </a:cubicBezTo>
                <a:cubicBezTo>
                  <a:pt x="6398575" y="17592"/>
                  <a:pt x="6312077" y="33018"/>
                  <a:pt x="6186739" y="18288"/>
                </a:cubicBezTo>
                <a:cubicBezTo>
                  <a:pt x="6061401" y="3558"/>
                  <a:pt x="5947033" y="12075"/>
                  <a:pt x="5833986" y="18288"/>
                </a:cubicBezTo>
                <a:cubicBezTo>
                  <a:pt x="5720939" y="24501"/>
                  <a:pt x="5482226" y="8586"/>
                  <a:pt x="5155616" y="18288"/>
                </a:cubicBezTo>
                <a:cubicBezTo>
                  <a:pt x="4829006" y="27991"/>
                  <a:pt x="4841274" y="29316"/>
                  <a:pt x="4694324" y="18288"/>
                </a:cubicBezTo>
                <a:cubicBezTo>
                  <a:pt x="4547374" y="7260"/>
                  <a:pt x="4077675" y="7013"/>
                  <a:pt x="3907414" y="18288"/>
                </a:cubicBezTo>
                <a:cubicBezTo>
                  <a:pt x="3737153" y="29564"/>
                  <a:pt x="3538393" y="21630"/>
                  <a:pt x="3446122" y="18288"/>
                </a:cubicBezTo>
                <a:cubicBezTo>
                  <a:pt x="3353851" y="14946"/>
                  <a:pt x="2990320" y="-8091"/>
                  <a:pt x="2659212" y="18288"/>
                </a:cubicBezTo>
                <a:cubicBezTo>
                  <a:pt x="2328104" y="44667"/>
                  <a:pt x="2427653" y="9607"/>
                  <a:pt x="2306460" y="18288"/>
                </a:cubicBezTo>
                <a:cubicBezTo>
                  <a:pt x="2185267" y="26969"/>
                  <a:pt x="1719763" y="3717"/>
                  <a:pt x="1519550" y="18288"/>
                </a:cubicBezTo>
                <a:cubicBezTo>
                  <a:pt x="1319337" y="32860"/>
                  <a:pt x="1167371" y="17040"/>
                  <a:pt x="1058258" y="18288"/>
                </a:cubicBezTo>
                <a:cubicBezTo>
                  <a:pt x="949145" y="19536"/>
                  <a:pt x="780234" y="31447"/>
                  <a:pt x="705505" y="18288"/>
                </a:cubicBezTo>
                <a:cubicBezTo>
                  <a:pt x="630776" y="5129"/>
                  <a:pt x="215796" y="30056"/>
                  <a:pt x="0" y="18288"/>
                </a:cubicBezTo>
                <a:cubicBezTo>
                  <a:pt x="-53" y="11301"/>
                  <a:pt x="-649" y="7756"/>
                  <a:pt x="0" y="0"/>
                </a:cubicBezTo>
                <a:close/>
              </a:path>
            </a:pathLst>
          </a:custGeom>
          <a:solidFill>
            <a:schemeClr val="accent2"/>
          </a:solidFill>
          <a:ln w="41275" cap="rnd">
            <a:solidFill>
              <a:schemeClr val="accent2"/>
            </a:solidFill>
            <a:round/>
            <a:extLst>
              <a:ext uri="{C807C97D-BFC1-408E-A445-0C87EB9F89A2}">
                <ask:lineSketchStyleProps xmlns:ask="http://schemas.microsoft.com/office/drawing/2018/sketchyshapes" sd="1219033472">
                  <a:prstGeom prst="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9FA71A85-160A-4CFF-9241-BA71D421B86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51671" y="1690688"/>
            <a:ext cx="11652308" cy="4872318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fr-FR" sz="15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 </a:t>
            </a:r>
          </a:p>
          <a:p>
            <a:pPr marL="0" indent="0" algn="just">
              <a:buNone/>
            </a:pPr>
            <a:endParaRPr lang="fr-FR" sz="1500" dirty="0"/>
          </a:p>
        </p:txBody>
      </p:sp>
      <p:pic>
        <p:nvPicPr>
          <p:cNvPr id="5" name="Image 4">
            <a:extLst>
              <a:ext uri="{FF2B5EF4-FFF2-40B4-BE49-F238E27FC236}">
                <a16:creationId xmlns:a16="http://schemas.microsoft.com/office/drawing/2014/main" id="{A1D02FCC-25C3-466A-AA38-333553E41D2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888434" y="1800469"/>
            <a:ext cx="8080513" cy="37877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33177139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9" name="Rectangle 8">
            <a:extLst>
              <a:ext uri="{FF2B5EF4-FFF2-40B4-BE49-F238E27FC236}">
                <a16:creationId xmlns:a16="http://schemas.microsoft.com/office/drawing/2014/main" id="{E91DC736-0EF8-4F87-9146-EBF1D2EE4D3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Picture 4" descr="Graphique sur un document avec stylet">
            <a:extLst>
              <a:ext uri="{FF2B5EF4-FFF2-40B4-BE49-F238E27FC236}">
                <a16:creationId xmlns:a16="http://schemas.microsoft.com/office/drawing/2014/main" id="{040A7521-ECAB-4BBC-ADFA-3C6D881ABFA4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2066" r="13561" b="-1"/>
          <a:stretch/>
        </p:blipFill>
        <p:spPr>
          <a:xfrm>
            <a:off x="3523488" y="10"/>
            <a:ext cx="8668512" cy="6857990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097CD68E-23E3-4007-8847-CD0944C4F7B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9756601" cy="6858000"/>
          </a:xfrm>
          <a:prstGeom prst="rect">
            <a:avLst/>
          </a:prstGeom>
          <a:gradFill>
            <a:gsLst>
              <a:gs pos="58000">
                <a:schemeClr val="bg1"/>
              </a:gs>
              <a:gs pos="35000">
                <a:schemeClr val="bg1">
                  <a:alpha val="79000"/>
                </a:schemeClr>
              </a:gs>
              <a:gs pos="19000">
                <a:schemeClr val="bg1">
                  <a:alpha val="38000"/>
                </a:schemeClr>
              </a:gs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63C23A44-953E-4DCE-A2FC-7526BBD520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7980" y="1122363"/>
            <a:ext cx="8139245" cy="3204134"/>
          </a:xfr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sz="4800" dirty="0" err="1"/>
              <a:t>Méthode</a:t>
            </a:r>
            <a:r>
              <a:rPr lang="en-US" sz="4800" dirty="0"/>
              <a:t> 2 : Le journal chrono =&gt; Notre </a:t>
            </a:r>
            <a:r>
              <a:rPr lang="en-US" sz="4800" dirty="0" err="1"/>
              <a:t>méthode</a:t>
            </a:r>
            <a:endParaRPr lang="en-US" sz="4800" dirty="0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AF2F604E-43BE-4DC3-B983-E071523364F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>
            <a:off x="759921" y="346791"/>
            <a:ext cx="146304" cy="704088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08C9B587-E65E-4B52-B37C-ABEBB6E8792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81029" y="4546920"/>
            <a:ext cx="3977640" cy="18288"/>
          </a:xfrm>
          <a:prstGeom prst="rect">
            <a:avLst/>
          </a:prstGeom>
          <a:solidFill>
            <a:srgbClr val="D5D5D5"/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10478480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31" name="Rectangle 23">
            <a:extLst>
              <a:ext uri="{FF2B5EF4-FFF2-40B4-BE49-F238E27FC236}">
                <a16:creationId xmlns:a16="http://schemas.microsoft.com/office/drawing/2014/main" id="{2550BE34-C2B8-49B8-8519-67A8CAD51AE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 useBgFill="1">
        <p:nvSpPr>
          <p:cNvPr id="32" name="Rectangle 25">
            <a:extLst>
              <a:ext uri="{FF2B5EF4-FFF2-40B4-BE49-F238E27FC236}">
                <a16:creationId xmlns:a16="http://schemas.microsoft.com/office/drawing/2014/main" id="{A7457DD9-5A45-400A-AB4B-4B4EDECA25F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554416" y="365125"/>
            <a:ext cx="11167447" cy="2089317"/>
          </a:xfrm>
          <a:prstGeom prst="rect">
            <a:avLst/>
          </a:prstGeom>
          <a:ln w="12700">
            <a:solidFill>
              <a:srgbClr val="DEDEDE"/>
            </a:solidFill>
          </a:ln>
          <a:effectLst>
            <a:outerShdw blurRad="50800" dist="38100" dir="2700000" algn="tl" rotWithShape="0">
              <a:schemeClr val="bg2">
                <a:lumMod val="85000"/>
                <a:alpha val="5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AEFCB68E-E041-4E46-A233-3C2208DA32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46745" y="586822"/>
            <a:ext cx="10307055" cy="1645920"/>
          </a:xfrm>
        </p:spPr>
        <p:txBody>
          <a:bodyPr>
            <a:normAutofit/>
          </a:bodyPr>
          <a:lstStyle/>
          <a:p>
            <a:r>
              <a:rPr lang="fr-FR" sz="3200" dirty="0"/>
              <a:t>Comptabilisation	 – 	Méthode 2</a:t>
            </a:r>
          </a:p>
        </p:txBody>
      </p:sp>
      <p:sp>
        <p:nvSpPr>
          <p:cNvPr id="33" name="Rectangle 27">
            <a:extLst>
              <a:ext uri="{FF2B5EF4-FFF2-40B4-BE49-F238E27FC236}">
                <a16:creationId xmlns:a16="http://schemas.microsoft.com/office/drawing/2014/main" id="{441CF7D6-A660-431A-B0BB-140A0D5556B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90408" y="1057739"/>
            <a:ext cx="128016" cy="704088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0570A85B-3810-4F95-97B0-CBF4CCDB381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>
            <a:off x="4243541" y="1400638"/>
            <a:ext cx="1463040" cy="18288"/>
          </a:xfrm>
          <a:prstGeom prst="rect">
            <a:avLst/>
          </a:prstGeom>
          <a:solidFill>
            <a:srgbClr val="D5D5D5"/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9FA71A85-160A-4CFF-9241-BA71D421B86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351164" y="586822"/>
            <a:ext cx="6002636" cy="1645920"/>
          </a:xfrm>
        </p:spPr>
        <p:txBody>
          <a:bodyPr anchor="ctr">
            <a:normAutofit/>
          </a:bodyPr>
          <a:lstStyle/>
          <a:p>
            <a:pPr marL="0" indent="0">
              <a:buNone/>
            </a:pPr>
            <a:r>
              <a:rPr lang="fr-FR" sz="180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 </a:t>
            </a:r>
          </a:p>
          <a:p>
            <a:pPr marL="0" indent="0">
              <a:buNone/>
            </a:pPr>
            <a:endParaRPr lang="fr-FR" sz="1800"/>
          </a:p>
        </p:txBody>
      </p:sp>
      <p:graphicFrame>
        <p:nvGraphicFramePr>
          <p:cNvPr id="4" name="Tableau 3">
            <a:extLst>
              <a:ext uri="{FF2B5EF4-FFF2-40B4-BE49-F238E27FC236}">
                <a16:creationId xmlns:a16="http://schemas.microsoft.com/office/drawing/2014/main" id="{899E9AA8-912A-43B7-A4FB-BE9A9DE6E87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29879544"/>
              </p:ext>
            </p:extLst>
          </p:nvPr>
        </p:nvGraphicFramePr>
        <p:xfrm>
          <a:off x="557784" y="2895794"/>
          <a:ext cx="11164826" cy="32133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26465">
                  <a:extLst>
                    <a:ext uri="{9D8B030D-6E8A-4147-A177-3AD203B41FA5}">
                      <a16:colId xmlns:a16="http://schemas.microsoft.com/office/drawing/2014/main" val="50253110"/>
                    </a:ext>
                  </a:extLst>
                </a:gridCol>
                <a:gridCol w="2036534">
                  <a:extLst>
                    <a:ext uri="{9D8B030D-6E8A-4147-A177-3AD203B41FA5}">
                      <a16:colId xmlns:a16="http://schemas.microsoft.com/office/drawing/2014/main" val="3936083584"/>
                    </a:ext>
                  </a:extLst>
                </a:gridCol>
                <a:gridCol w="3119077">
                  <a:extLst>
                    <a:ext uri="{9D8B030D-6E8A-4147-A177-3AD203B41FA5}">
                      <a16:colId xmlns:a16="http://schemas.microsoft.com/office/drawing/2014/main" val="571401409"/>
                    </a:ext>
                  </a:extLst>
                </a:gridCol>
                <a:gridCol w="2036534">
                  <a:extLst>
                    <a:ext uri="{9D8B030D-6E8A-4147-A177-3AD203B41FA5}">
                      <a16:colId xmlns:a16="http://schemas.microsoft.com/office/drawing/2014/main" val="1516214713"/>
                    </a:ext>
                  </a:extLst>
                </a:gridCol>
                <a:gridCol w="1373108">
                  <a:extLst>
                    <a:ext uri="{9D8B030D-6E8A-4147-A177-3AD203B41FA5}">
                      <a16:colId xmlns:a16="http://schemas.microsoft.com/office/drawing/2014/main" val="3012279187"/>
                    </a:ext>
                  </a:extLst>
                </a:gridCol>
                <a:gridCol w="1373108">
                  <a:extLst>
                    <a:ext uri="{9D8B030D-6E8A-4147-A177-3AD203B41FA5}">
                      <a16:colId xmlns:a16="http://schemas.microsoft.com/office/drawing/2014/main" val="451695474"/>
                    </a:ext>
                  </a:extLst>
                </a:gridCol>
              </a:tblGrid>
              <a:tr h="351155">
                <a:tc>
                  <a:txBody>
                    <a:bodyPr/>
                    <a:lstStyle/>
                    <a:p>
                      <a:pPr algn="just"/>
                      <a:r>
                        <a:rPr lang="fr-FR" sz="2100">
                          <a:effectLst/>
                        </a:rPr>
                        <a:t> </a:t>
                      </a:r>
                      <a:endParaRPr lang="fr-FR" sz="21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just"/>
                      <a:r>
                        <a:rPr lang="fr-FR" sz="2100">
                          <a:effectLst/>
                        </a:rPr>
                        <a:t> </a:t>
                      </a:r>
                      <a:endParaRPr lang="fr-FR" sz="21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2100" dirty="0">
                          <a:effectLst/>
                        </a:rPr>
                        <a:t>02/03/N</a:t>
                      </a:r>
                      <a:endParaRPr lang="fr-FR" sz="21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just"/>
                      <a:r>
                        <a:rPr lang="fr-FR" sz="2100">
                          <a:effectLst/>
                        </a:rPr>
                        <a:t> </a:t>
                      </a:r>
                      <a:endParaRPr lang="fr-FR" sz="21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just"/>
                      <a:r>
                        <a:rPr lang="fr-FR" sz="2100">
                          <a:effectLst/>
                        </a:rPr>
                        <a:t> </a:t>
                      </a:r>
                      <a:endParaRPr lang="fr-FR" sz="21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just"/>
                      <a:r>
                        <a:rPr lang="fr-FR" sz="2100">
                          <a:effectLst/>
                        </a:rPr>
                        <a:t> </a:t>
                      </a:r>
                      <a:endParaRPr lang="fr-FR" sz="21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365868593"/>
                  </a:ext>
                </a:extLst>
              </a:tr>
              <a:tr h="351155">
                <a:tc>
                  <a:txBody>
                    <a:bodyPr/>
                    <a:lstStyle/>
                    <a:p>
                      <a:pPr algn="ctr"/>
                      <a:r>
                        <a:rPr lang="fr-FR" sz="2100">
                          <a:effectLst/>
                        </a:rPr>
                        <a:t>2154</a:t>
                      </a:r>
                      <a:endParaRPr lang="fr-FR" sz="21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 gridSpan="3">
                  <a:txBody>
                    <a:bodyPr/>
                    <a:lstStyle/>
                    <a:p>
                      <a:pPr algn="l"/>
                      <a:r>
                        <a:rPr lang="fr-FR" sz="2100">
                          <a:effectLst/>
                        </a:rPr>
                        <a:t>Matériel industriel acheté à Z</a:t>
                      </a:r>
                      <a:endParaRPr lang="fr-FR" sz="21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2100">
                          <a:effectLst/>
                        </a:rPr>
                        <a:t>200 000,00</a:t>
                      </a:r>
                      <a:endParaRPr lang="fr-FR" sz="21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2100">
                          <a:effectLst/>
                        </a:rPr>
                        <a:t> </a:t>
                      </a:r>
                      <a:endParaRPr lang="fr-FR" sz="21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90615397"/>
                  </a:ext>
                </a:extLst>
              </a:tr>
              <a:tr h="351155">
                <a:tc>
                  <a:txBody>
                    <a:bodyPr/>
                    <a:lstStyle/>
                    <a:p>
                      <a:pPr algn="ctr"/>
                      <a:r>
                        <a:rPr lang="fr-FR" sz="2100">
                          <a:effectLst/>
                        </a:rPr>
                        <a:t>44562</a:t>
                      </a:r>
                      <a:endParaRPr lang="fr-FR" sz="21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 gridSpan="3">
                  <a:txBody>
                    <a:bodyPr/>
                    <a:lstStyle/>
                    <a:p>
                      <a:pPr algn="l"/>
                      <a:r>
                        <a:rPr lang="fr-FR" sz="2100">
                          <a:effectLst/>
                        </a:rPr>
                        <a:t>T.V.A déductible sur immobilisations (200 000,00 * 0,20)</a:t>
                      </a:r>
                      <a:endParaRPr lang="fr-FR" sz="21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2100">
                          <a:effectLst/>
                        </a:rPr>
                        <a:t>40 000,00</a:t>
                      </a:r>
                      <a:endParaRPr lang="fr-FR" sz="21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2100">
                          <a:effectLst/>
                        </a:rPr>
                        <a:t> </a:t>
                      </a:r>
                      <a:endParaRPr lang="fr-FR" sz="21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3647943788"/>
                  </a:ext>
                </a:extLst>
              </a:tr>
              <a:tr h="404080">
                <a:tc>
                  <a:txBody>
                    <a:bodyPr/>
                    <a:lstStyle/>
                    <a:p>
                      <a:pPr algn="ctr"/>
                      <a:r>
                        <a:rPr lang="fr-FR" sz="2100">
                          <a:effectLst/>
                        </a:rPr>
                        <a:t>404</a:t>
                      </a:r>
                      <a:endParaRPr lang="fr-FR" sz="21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 gridSpan="3">
                  <a:txBody>
                    <a:bodyPr/>
                    <a:lstStyle/>
                    <a:p>
                      <a:pPr algn="r"/>
                      <a:r>
                        <a:rPr lang="fr-FR" sz="2100">
                          <a:effectLst/>
                        </a:rPr>
                        <a:t>Fournisseurs d’immobilisations Z</a:t>
                      </a:r>
                      <a:endParaRPr lang="fr-FR" sz="21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2100">
                          <a:effectLst/>
                        </a:rPr>
                        <a:t> </a:t>
                      </a:r>
                      <a:endParaRPr lang="fr-FR" sz="21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2100">
                          <a:effectLst/>
                        </a:rPr>
                        <a:t>240 000,00</a:t>
                      </a:r>
                      <a:endParaRPr lang="fr-FR" sz="21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703170135"/>
                  </a:ext>
                </a:extLst>
              </a:tr>
              <a:tr h="351155"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fr-FR" sz="2100" b="1" kern="1200" dirty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0" marR="0" marT="0" marB="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fr-FR" sz="2100" b="1" kern="1200" dirty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0" marR="0" marT="0" marB="0" anchor="b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fr-FR" sz="2100" b="1" kern="1200" dirty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0/03/N</a:t>
                      </a:r>
                    </a:p>
                  </a:txBody>
                  <a:tcPr marL="0" marR="0" marT="0" marB="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fr-FR" sz="2100" b="1" kern="1200" dirty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0" marR="0" marT="0" marB="0" anchor="b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fr-FR" sz="2100" b="1" kern="1200" dirty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0" marR="0" marT="0" marB="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fr-FR" sz="2100" b="1" kern="1200" dirty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0" marR="0" marT="0" marB="0" anchor="ctr"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5249303"/>
                  </a:ext>
                </a:extLst>
              </a:tr>
              <a:tr h="351155">
                <a:tc>
                  <a:txBody>
                    <a:bodyPr/>
                    <a:lstStyle/>
                    <a:p>
                      <a:pPr algn="ctr"/>
                      <a:r>
                        <a:rPr lang="fr-FR" sz="2100">
                          <a:effectLst/>
                        </a:rPr>
                        <a:t>607</a:t>
                      </a:r>
                      <a:endParaRPr lang="fr-FR" sz="21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 gridSpan="3">
                  <a:txBody>
                    <a:bodyPr/>
                    <a:lstStyle/>
                    <a:p>
                      <a:pPr algn="l"/>
                      <a:r>
                        <a:rPr lang="fr-FR" sz="2100" dirty="0">
                          <a:effectLst/>
                        </a:rPr>
                        <a:t>Achats de marchandises à Y</a:t>
                      </a:r>
                      <a:endParaRPr lang="fr-FR" sz="21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2100">
                          <a:effectLst/>
                        </a:rPr>
                        <a:t>15 000,00</a:t>
                      </a:r>
                      <a:endParaRPr lang="fr-FR" sz="21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2100">
                          <a:effectLst/>
                        </a:rPr>
                        <a:t> </a:t>
                      </a:r>
                      <a:endParaRPr lang="fr-FR" sz="21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508255422"/>
                  </a:ext>
                </a:extLst>
              </a:tr>
              <a:tr h="351155">
                <a:tc>
                  <a:txBody>
                    <a:bodyPr/>
                    <a:lstStyle/>
                    <a:p>
                      <a:pPr algn="ctr"/>
                      <a:r>
                        <a:rPr lang="fr-FR" sz="2100">
                          <a:effectLst/>
                        </a:rPr>
                        <a:t>44566</a:t>
                      </a:r>
                      <a:endParaRPr lang="fr-FR" sz="21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 gridSpan="3">
                  <a:txBody>
                    <a:bodyPr/>
                    <a:lstStyle/>
                    <a:p>
                      <a:pPr algn="l"/>
                      <a:r>
                        <a:rPr lang="fr-FR" sz="2100">
                          <a:effectLst/>
                        </a:rPr>
                        <a:t>T.V.A déductible sur biens et services (15 000,00 * 0,196)</a:t>
                      </a:r>
                      <a:endParaRPr lang="fr-FR" sz="21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2100">
                          <a:effectLst/>
                        </a:rPr>
                        <a:t>3 000,00</a:t>
                      </a:r>
                      <a:endParaRPr lang="fr-FR" sz="21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2100">
                          <a:effectLst/>
                        </a:rPr>
                        <a:t> </a:t>
                      </a:r>
                      <a:endParaRPr lang="fr-FR" sz="21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2627036962"/>
                  </a:ext>
                </a:extLst>
              </a:tr>
              <a:tr h="351155">
                <a:tc>
                  <a:txBody>
                    <a:bodyPr/>
                    <a:lstStyle/>
                    <a:p>
                      <a:pPr algn="ctr"/>
                      <a:r>
                        <a:rPr lang="fr-FR" sz="2100">
                          <a:effectLst/>
                        </a:rPr>
                        <a:t>512</a:t>
                      </a:r>
                      <a:endParaRPr lang="fr-FR" sz="21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 gridSpan="3">
                  <a:txBody>
                    <a:bodyPr/>
                    <a:lstStyle/>
                    <a:p>
                      <a:pPr algn="r"/>
                      <a:r>
                        <a:rPr lang="fr-FR" sz="2100">
                          <a:effectLst/>
                        </a:rPr>
                        <a:t>Banque</a:t>
                      </a:r>
                      <a:endParaRPr lang="fr-FR" sz="21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2100">
                          <a:effectLst/>
                        </a:rPr>
                        <a:t> </a:t>
                      </a:r>
                      <a:endParaRPr lang="fr-FR" sz="21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2100">
                          <a:effectLst/>
                        </a:rPr>
                        <a:t>18 000,00</a:t>
                      </a:r>
                      <a:endParaRPr lang="fr-FR" sz="21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3961548593"/>
                  </a:ext>
                </a:extLst>
              </a:tr>
              <a:tr h="351155">
                <a:tc>
                  <a:txBody>
                    <a:bodyPr/>
                    <a:lstStyle/>
                    <a:p>
                      <a:pPr algn="ctr"/>
                      <a:r>
                        <a:rPr lang="fr-FR" sz="2100">
                          <a:effectLst/>
                        </a:rPr>
                        <a:t> </a:t>
                      </a:r>
                      <a:endParaRPr lang="fr-FR" sz="21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just"/>
                      <a:r>
                        <a:rPr lang="fr-FR" sz="2100">
                          <a:effectLst/>
                        </a:rPr>
                        <a:t> </a:t>
                      </a:r>
                      <a:endParaRPr lang="fr-FR" sz="21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just"/>
                      <a:r>
                        <a:rPr lang="fr-FR" sz="2100">
                          <a:effectLst/>
                        </a:rPr>
                        <a:t> </a:t>
                      </a:r>
                      <a:endParaRPr lang="fr-FR" sz="21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just"/>
                      <a:r>
                        <a:rPr lang="fr-FR" sz="2100" dirty="0">
                          <a:effectLst/>
                        </a:rPr>
                        <a:t> </a:t>
                      </a:r>
                      <a:endParaRPr lang="fr-FR" sz="21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2100">
                          <a:effectLst/>
                        </a:rPr>
                        <a:t> </a:t>
                      </a:r>
                      <a:endParaRPr lang="fr-FR" sz="21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2100" dirty="0">
                          <a:effectLst/>
                        </a:rPr>
                        <a:t> </a:t>
                      </a:r>
                      <a:endParaRPr lang="fr-FR" sz="21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255482123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763403550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20" name="Rectangle 19">
            <a:extLst>
              <a:ext uri="{FF2B5EF4-FFF2-40B4-BE49-F238E27FC236}">
                <a16:creationId xmlns:a16="http://schemas.microsoft.com/office/drawing/2014/main" id="{5A59F003-E00A-43F9-91DC-CC54E3B8746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Picture 4" descr="Graphique sur un document avec stylet">
            <a:extLst>
              <a:ext uri="{FF2B5EF4-FFF2-40B4-BE49-F238E27FC236}">
                <a16:creationId xmlns:a16="http://schemas.microsoft.com/office/drawing/2014/main" id="{040A7521-ECAB-4BBC-ADFA-3C6D881ABFA4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9091" t="22673" b="718"/>
          <a:stretch/>
        </p:blipFill>
        <p:spPr>
          <a:xfrm>
            <a:off x="20" y="10"/>
            <a:ext cx="12191981" cy="6857990"/>
          </a:xfrm>
          <a:prstGeom prst="rect">
            <a:avLst/>
          </a:prstGeom>
        </p:spPr>
      </p:pic>
      <p:sp>
        <p:nvSpPr>
          <p:cNvPr id="22" name="Rectangle 21">
            <a:extLst>
              <a:ext uri="{FF2B5EF4-FFF2-40B4-BE49-F238E27FC236}">
                <a16:creationId xmlns:a16="http://schemas.microsoft.com/office/drawing/2014/main" id="{D74A4382-E3AD-430A-9A1F-DFA3E0E77A7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6200000">
            <a:off x="3799868" y="-1534136"/>
            <a:ext cx="4592270" cy="12192001"/>
          </a:xfrm>
          <a:prstGeom prst="rect">
            <a:avLst/>
          </a:prstGeom>
          <a:gradFill>
            <a:gsLst>
              <a:gs pos="35000">
                <a:schemeClr val="bg1">
                  <a:alpha val="46000"/>
                </a:schemeClr>
              </a:gs>
              <a:gs pos="21000">
                <a:schemeClr val="bg1">
                  <a:alpha val="30000"/>
                </a:schemeClr>
              </a:gs>
              <a:gs pos="0">
                <a:schemeClr val="bg1">
                  <a:alpha val="0"/>
                </a:schemeClr>
              </a:gs>
              <a:gs pos="100000">
                <a:schemeClr val="bg1">
                  <a:alpha val="90000"/>
                </a:schemeClr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63C23A44-953E-4DCE-A2FC-7526BBD520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4553" y="3091928"/>
            <a:ext cx="9078562" cy="2387600"/>
          </a:xfr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sz="5100"/>
              <a:t>Méthode 3 : Les journaux</a:t>
            </a:r>
            <a:br>
              <a:rPr lang="en-US" sz="5100"/>
            </a:br>
            <a:r>
              <a:rPr lang="en-US" sz="5100"/>
              <a:t>=&gt; Méthode appliquée dans la pratique</a:t>
            </a:r>
          </a:p>
        </p:txBody>
      </p:sp>
      <p:sp>
        <p:nvSpPr>
          <p:cNvPr id="24" name="Rectangle: Rounded Corners 23">
            <a:extLst>
              <a:ext uri="{FF2B5EF4-FFF2-40B4-BE49-F238E27FC236}">
                <a16:creationId xmlns:a16="http://schemas.microsoft.com/office/drawing/2014/main" id="{79F40191-0F44-4FD1-82CC-ACB507C14BE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5575039"/>
            <a:ext cx="9785897" cy="685800"/>
          </a:xfrm>
          <a:prstGeom prst="roundRect">
            <a:avLst>
              <a:gd name="adj" fmla="val 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8840953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tint val="95000"/>
            <a:satMod val="17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77" name="Rectangle 76">
            <a:extLst>
              <a:ext uri="{FF2B5EF4-FFF2-40B4-BE49-F238E27FC236}">
                <a16:creationId xmlns:a16="http://schemas.microsoft.com/office/drawing/2014/main" id="{8537B233-9CDD-4A90-AABB-A8963DEE4FB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1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w Cen MT" panose="020B0602020104020603"/>
              <a:ea typeface="+mn-ea"/>
              <a:cs typeface="+mn-cs"/>
            </a:endParaRPr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02517F6E-26E9-44E8-815E-774552D95FD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153400" y="818457"/>
            <a:ext cx="3322317" cy="2975876"/>
          </a:xfrm>
          <a:prstGeom prst="ellipse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br>
              <a:rPr lang="en-US" sz="3100" kern="1200" dirty="0">
                <a:solidFill>
                  <a:schemeClr val="tx1"/>
                </a:solidFill>
                <a:latin typeface="+mj-lt"/>
                <a:ea typeface="+mj-ea"/>
                <a:cs typeface="+mj-cs"/>
              </a:rPr>
            </a:br>
            <a:endParaRPr lang="en-US" sz="3100" kern="1200" dirty="0">
              <a:solidFill>
                <a:schemeClr val="tx1"/>
              </a:solidFill>
              <a:latin typeface="+mj-lt"/>
              <a:ea typeface="+mj-ea"/>
              <a:cs typeface="+mj-cs"/>
            </a:endParaRPr>
          </a:p>
        </p:txBody>
      </p:sp>
      <p:pic>
        <p:nvPicPr>
          <p:cNvPr id="36" name="Picture 35">
            <a:extLst>
              <a:ext uri="{FF2B5EF4-FFF2-40B4-BE49-F238E27FC236}">
                <a16:creationId xmlns:a16="http://schemas.microsoft.com/office/drawing/2014/main" id="{FC9EF324-339C-4E46-9508-BF0C86AAC793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5"/>
              </a:ext>
            </a:extLst>
          </a:blip>
          <a:srcRect t="21540" b="21540"/>
          <a:stretch/>
        </p:blipFill>
        <p:spPr>
          <a:xfrm>
            <a:off x="716280" y="2215808"/>
            <a:ext cx="5401937" cy="2036367"/>
          </a:xfrm>
          <a:prstGeom prst="rect">
            <a:avLst/>
          </a:prstGeom>
        </p:spPr>
      </p:pic>
      <p:cxnSp>
        <p:nvCxnSpPr>
          <p:cNvPr id="79" name="Straight Connector 78">
            <a:extLst>
              <a:ext uri="{FF2B5EF4-FFF2-40B4-BE49-F238E27FC236}">
                <a16:creationId xmlns:a16="http://schemas.microsoft.com/office/drawing/2014/main" id="{040575EE-C594-4566-BC00-663004E52AB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>
            <a:off x="7617861" y="1417320"/>
            <a:ext cx="0" cy="4023360"/>
          </a:xfrm>
          <a:prstGeom prst="line">
            <a:avLst/>
          </a:prstGeom>
          <a:ln w="158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ZoneTexte 3">
            <a:extLst>
              <a:ext uri="{FF2B5EF4-FFF2-40B4-BE49-F238E27FC236}">
                <a16:creationId xmlns:a16="http://schemas.microsoft.com/office/drawing/2014/main" id="{AE196125-F657-4A8D-BF6F-9D35E2A19BAA}"/>
              </a:ext>
            </a:extLst>
          </p:cNvPr>
          <p:cNvSpPr txBox="1"/>
          <p:nvPr/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fr-FR" dirty="0"/>
          </a:p>
        </p:txBody>
      </p:sp>
      <p:sp>
        <p:nvSpPr>
          <p:cNvPr id="23" name="ZoneTexte 2">
            <a:extLst>
              <a:ext uri="{FF2B5EF4-FFF2-40B4-BE49-F238E27FC236}">
                <a16:creationId xmlns:a16="http://schemas.microsoft.com/office/drawing/2014/main" id="{61BA051E-0D20-4CC3-9958-C0CFDE297C40}"/>
              </a:ext>
            </a:extLst>
          </p:cNvPr>
          <p:cNvSpPr txBox="1"/>
          <p:nvPr/>
        </p:nvSpPr>
        <p:spPr>
          <a:xfrm>
            <a:off x="1179226" y="3092970"/>
            <a:ext cx="9833548" cy="269397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fr-FR" sz="2000" dirty="0">
              <a:solidFill>
                <a:srgbClr val="000000"/>
              </a:solidFill>
            </a:endParaRPr>
          </a:p>
          <a:p>
            <a:pPr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fr-FR" sz="2000" dirty="0">
              <a:solidFill>
                <a:srgbClr val="000000"/>
              </a:solidFill>
            </a:endParaRPr>
          </a:p>
          <a:p>
            <a:pPr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fr-FR" sz="2000" dirty="0">
              <a:solidFill>
                <a:srgbClr val="000000"/>
              </a:solidFill>
            </a:endParaRPr>
          </a:p>
        </p:txBody>
      </p:sp>
      <p:grpSp>
        <p:nvGrpSpPr>
          <p:cNvPr id="7" name="Award2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471C68EA-2299-4048-9768-29BE3CCCA72D}"/>
              </a:ext>
            </a:extLst>
          </p:cNvPr>
          <p:cNvGrpSpPr>
            <a:grpSpLocks noChangeAspect="1"/>
          </p:cNvGrpSpPr>
          <p:nvPr>
            <p:custDataLst>
              <p:tags r:id="rId1"/>
            </p:custDataLst>
          </p:nvPr>
        </p:nvGrpSpPr>
        <p:grpSpPr>
          <a:xfrm>
            <a:off x="0" y="0"/>
            <a:ext cx="344587" cy="542925"/>
            <a:chOff x="2585735" y="108789"/>
            <a:chExt cx="344587" cy="542925"/>
          </a:xfrm>
        </p:grpSpPr>
        <p:sp>
          <p:nvSpPr>
            <p:cNvPr id="8" name="Freeform: Shape 206">
              <a:extLst>
                <a:ext uri="{FF2B5EF4-FFF2-40B4-BE49-F238E27FC236}">
                  <a16:creationId xmlns:a16="http://schemas.microsoft.com/office/drawing/2014/main" id="{F1582718-4360-43D7-8A82-7C736EEF1575}"/>
                </a:ext>
              </a:extLst>
            </p:cNvPr>
            <p:cNvSpPr>
              <a:spLocks/>
            </p:cNvSpPr>
            <p:nvPr/>
          </p:nvSpPr>
          <p:spPr bwMode="auto">
            <a:xfrm>
              <a:off x="2585735" y="108789"/>
              <a:ext cx="344587" cy="344988"/>
            </a:xfrm>
            <a:custGeom>
              <a:avLst/>
              <a:gdLst>
                <a:gd name="connsiteX0" fmla="*/ 167961 w 344587"/>
                <a:gd name="connsiteY0" fmla="*/ 276672 h 344988"/>
                <a:gd name="connsiteX1" fmla="*/ 168781 w 344587"/>
                <a:gd name="connsiteY1" fmla="*/ 281441 h 344988"/>
                <a:gd name="connsiteX2" fmla="*/ 165282 w 344587"/>
                <a:gd name="connsiteY2" fmla="*/ 284827 h 344988"/>
                <a:gd name="connsiteX3" fmla="*/ 170121 w 344587"/>
                <a:gd name="connsiteY3" fmla="*/ 285532 h 344988"/>
                <a:gd name="connsiteX4" fmla="*/ 172307 w 344587"/>
                <a:gd name="connsiteY4" fmla="*/ 289894 h 344988"/>
                <a:gd name="connsiteX5" fmla="*/ 174467 w 344587"/>
                <a:gd name="connsiteY5" fmla="*/ 285532 h 344988"/>
                <a:gd name="connsiteX6" fmla="*/ 179306 w 344587"/>
                <a:gd name="connsiteY6" fmla="*/ 284827 h 344988"/>
                <a:gd name="connsiteX7" fmla="*/ 175806 w 344587"/>
                <a:gd name="connsiteY7" fmla="*/ 281441 h 344988"/>
                <a:gd name="connsiteX8" fmla="*/ 176627 w 344587"/>
                <a:gd name="connsiteY8" fmla="*/ 276672 h 344988"/>
                <a:gd name="connsiteX9" fmla="*/ 172307 w 344587"/>
                <a:gd name="connsiteY9" fmla="*/ 278921 h 344988"/>
                <a:gd name="connsiteX10" fmla="*/ 194527 w 344587"/>
                <a:gd name="connsiteY10" fmla="*/ 274468 h 344988"/>
                <a:gd name="connsiteX11" fmla="*/ 190704 w 344587"/>
                <a:gd name="connsiteY11" fmla="*/ 277391 h 344988"/>
                <a:gd name="connsiteX12" fmla="*/ 186127 w 344587"/>
                <a:gd name="connsiteY12" fmla="*/ 275943 h 344988"/>
                <a:gd name="connsiteX13" fmla="*/ 187742 w 344587"/>
                <a:gd name="connsiteY13" fmla="*/ 280475 h 344988"/>
                <a:gd name="connsiteX14" fmla="*/ 184915 w 344587"/>
                <a:gd name="connsiteY14" fmla="*/ 284363 h 344988"/>
                <a:gd name="connsiteX15" fmla="*/ 189761 w 344587"/>
                <a:gd name="connsiteY15" fmla="*/ 284229 h 344988"/>
                <a:gd name="connsiteX16" fmla="*/ 192615 w 344587"/>
                <a:gd name="connsiteY16" fmla="*/ 288091 h 344988"/>
                <a:gd name="connsiteX17" fmla="*/ 193961 w 344587"/>
                <a:gd name="connsiteY17" fmla="*/ 283479 h 344988"/>
                <a:gd name="connsiteX18" fmla="*/ 198538 w 344587"/>
                <a:gd name="connsiteY18" fmla="*/ 281977 h 344988"/>
                <a:gd name="connsiteX19" fmla="*/ 194554 w 344587"/>
                <a:gd name="connsiteY19" fmla="*/ 279268 h 344988"/>
                <a:gd name="connsiteX20" fmla="*/ 149919 w 344587"/>
                <a:gd name="connsiteY20" fmla="*/ 274468 h 344988"/>
                <a:gd name="connsiteX21" fmla="*/ 149892 w 344587"/>
                <a:gd name="connsiteY21" fmla="*/ 279268 h 344988"/>
                <a:gd name="connsiteX22" fmla="*/ 145849 w 344587"/>
                <a:gd name="connsiteY22" fmla="*/ 281977 h 344988"/>
                <a:gd name="connsiteX23" fmla="*/ 150493 w 344587"/>
                <a:gd name="connsiteY23" fmla="*/ 283479 h 344988"/>
                <a:gd name="connsiteX24" fmla="*/ 151859 w 344587"/>
                <a:gd name="connsiteY24" fmla="*/ 288091 h 344988"/>
                <a:gd name="connsiteX25" fmla="*/ 154755 w 344587"/>
                <a:gd name="connsiteY25" fmla="*/ 284229 h 344988"/>
                <a:gd name="connsiteX26" fmla="*/ 159672 w 344587"/>
                <a:gd name="connsiteY26" fmla="*/ 284363 h 344988"/>
                <a:gd name="connsiteX27" fmla="*/ 156804 w 344587"/>
                <a:gd name="connsiteY27" fmla="*/ 280475 h 344988"/>
                <a:gd name="connsiteX28" fmla="*/ 158443 w 344587"/>
                <a:gd name="connsiteY28" fmla="*/ 275943 h 344988"/>
                <a:gd name="connsiteX29" fmla="*/ 153798 w 344587"/>
                <a:gd name="connsiteY29" fmla="*/ 277391 h 344988"/>
                <a:gd name="connsiteX30" fmla="*/ 211844 w 344587"/>
                <a:gd name="connsiteY30" fmla="*/ 268858 h 344988"/>
                <a:gd name="connsiteX31" fmla="*/ 208584 w 344587"/>
                <a:gd name="connsiteY31" fmla="*/ 272467 h 344988"/>
                <a:gd name="connsiteX32" fmla="*/ 203747 w 344587"/>
                <a:gd name="connsiteY32" fmla="*/ 271811 h 344988"/>
                <a:gd name="connsiteX33" fmla="*/ 206165 w 344587"/>
                <a:gd name="connsiteY33" fmla="*/ 276075 h 344988"/>
                <a:gd name="connsiteX34" fmla="*/ 204046 w 344587"/>
                <a:gd name="connsiteY34" fmla="*/ 280504 h 344988"/>
                <a:gd name="connsiteX35" fmla="*/ 208828 w 344587"/>
                <a:gd name="connsiteY35" fmla="*/ 279492 h 344988"/>
                <a:gd name="connsiteX36" fmla="*/ 212334 w 344587"/>
                <a:gd name="connsiteY36" fmla="*/ 282882 h 344988"/>
                <a:gd name="connsiteX37" fmla="*/ 212877 w 344587"/>
                <a:gd name="connsiteY37" fmla="*/ 278016 h 344988"/>
                <a:gd name="connsiteX38" fmla="*/ 217170 w 344587"/>
                <a:gd name="connsiteY38" fmla="*/ 275693 h 344988"/>
                <a:gd name="connsiteX39" fmla="*/ 212714 w 344587"/>
                <a:gd name="connsiteY39" fmla="*/ 273670 h 344988"/>
                <a:gd name="connsiteX40" fmla="*/ 132663 w 344587"/>
                <a:gd name="connsiteY40" fmla="*/ 268858 h 344988"/>
                <a:gd name="connsiteX41" fmla="*/ 131807 w 344587"/>
                <a:gd name="connsiteY41" fmla="*/ 273670 h 344988"/>
                <a:gd name="connsiteX42" fmla="*/ 127417 w 344587"/>
                <a:gd name="connsiteY42" fmla="*/ 275693 h 344988"/>
                <a:gd name="connsiteX43" fmla="*/ 131646 w 344587"/>
                <a:gd name="connsiteY43" fmla="*/ 278016 h 344988"/>
                <a:gd name="connsiteX44" fmla="*/ 132182 w 344587"/>
                <a:gd name="connsiteY44" fmla="*/ 282882 h 344988"/>
                <a:gd name="connsiteX45" fmla="*/ 135635 w 344587"/>
                <a:gd name="connsiteY45" fmla="*/ 279492 h 344988"/>
                <a:gd name="connsiteX46" fmla="*/ 140345 w 344587"/>
                <a:gd name="connsiteY46" fmla="*/ 280504 h 344988"/>
                <a:gd name="connsiteX47" fmla="*/ 138258 w 344587"/>
                <a:gd name="connsiteY47" fmla="*/ 276075 h 344988"/>
                <a:gd name="connsiteX48" fmla="*/ 140640 w 344587"/>
                <a:gd name="connsiteY48" fmla="*/ 271811 h 344988"/>
                <a:gd name="connsiteX49" fmla="*/ 135875 w 344587"/>
                <a:gd name="connsiteY49" fmla="*/ 272467 h 344988"/>
                <a:gd name="connsiteX50" fmla="*/ 228015 w 344587"/>
                <a:gd name="connsiteY50" fmla="*/ 260644 h 344988"/>
                <a:gd name="connsiteX51" fmla="*/ 225418 w 344587"/>
                <a:gd name="connsiteY51" fmla="*/ 264769 h 344988"/>
                <a:gd name="connsiteX52" fmla="*/ 220576 w 344587"/>
                <a:gd name="connsiteY52" fmla="*/ 264959 h 344988"/>
                <a:gd name="connsiteX53" fmla="*/ 223687 w 344587"/>
                <a:gd name="connsiteY53" fmla="*/ 268704 h 344988"/>
                <a:gd name="connsiteX54" fmla="*/ 222361 w 344587"/>
                <a:gd name="connsiteY54" fmla="*/ 273372 h 344988"/>
                <a:gd name="connsiteX55" fmla="*/ 226879 w 344587"/>
                <a:gd name="connsiteY55" fmla="*/ 271581 h 344988"/>
                <a:gd name="connsiteX56" fmla="*/ 230910 w 344587"/>
                <a:gd name="connsiteY56" fmla="*/ 274268 h 344988"/>
                <a:gd name="connsiteX57" fmla="*/ 230585 w 344587"/>
                <a:gd name="connsiteY57" fmla="*/ 269410 h 344988"/>
                <a:gd name="connsiteX58" fmla="*/ 234399 w 344587"/>
                <a:gd name="connsiteY58" fmla="*/ 266398 h 344988"/>
                <a:gd name="connsiteX59" fmla="*/ 229692 w 344587"/>
                <a:gd name="connsiteY59" fmla="*/ 265204 h 344988"/>
                <a:gd name="connsiteX60" fmla="*/ 116572 w 344587"/>
                <a:gd name="connsiteY60" fmla="*/ 260644 h 344988"/>
                <a:gd name="connsiteX61" fmla="*/ 114895 w 344587"/>
                <a:gd name="connsiteY61" fmla="*/ 265204 h 344988"/>
                <a:gd name="connsiteX62" fmla="*/ 110188 w 344587"/>
                <a:gd name="connsiteY62" fmla="*/ 266398 h 344988"/>
                <a:gd name="connsiteX63" fmla="*/ 114002 w 344587"/>
                <a:gd name="connsiteY63" fmla="*/ 269410 h 344988"/>
                <a:gd name="connsiteX64" fmla="*/ 113678 w 344587"/>
                <a:gd name="connsiteY64" fmla="*/ 274268 h 344988"/>
                <a:gd name="connsiteX65" fmla="*/ 117708 w 344587"/>
                <a:gd name="connsiteY65" fmla="*/ 271581 h 344988"/>
                <a:gd name="connsiteX66" fmla="*/ 122226 w 344587"/>
                <a:gd name="connsiteY66" fmla="*/ 273372 h 344988"/>
                <a:gd name="connsiteX67" fmla="*/ 120900 w 344587"/>
                <a:gd name="connsiteY67" fmla="*/ 268704 h 344988"/>
                <a:gd name="connsiteX68" fmla="*/ 124011 w 344587"/>
                <a:gd name="connsiteY68" fmla="*/ 264959 h 344988"/>
                <a:gd name="connsiteX69" fmla="*/ 119169 w 344587"/>
                <a:gd name="connsiteY69" fmla="*/ 264769 h 344988"/>
                <a:gd name="connsiteX70" fmla="*/ 242363 w 344587"/>
                <a:gd name="connsiteY70" fmla="*/ 249625 h 344988"/>
                <a:gd name="connsiteX71" fmla="*/ 240527 w 344587"/>
                <a:gd name="connsiteY71" fmla="*/ 254100 h 344988"/>
                <a:gd name="connsiteX72" fmla="*/ 235802 w 344587"/>
                <a:gd name="connsiteY72" fmla="*/ 255124 h 344988"/>
                <a:gd name="connsiteX73" fmla="*/ 239501 w 344587"/>
                <a:gd name="connsiteY73" fmla="*/ 258251 h 344988"/>
                <a:gd name="connsiteX74" fmla="*/ 239015 w 344587"/>
                <a:gd name="connsiteY74" fmla="*/ 263048 h 344988"/>
                <a:gd name="connsiteX75" fmla="*/ 243119 w 344587"/>
                <a:gd name="connsiteY75" fmla="*/ 260515 h 344988"/>
                <a:gd name="connsiteX76" fmla="*/ 247546 w 344587"/>
                <a:gd name="connsiteY76" fmla="*/ 262455 h 344988"/>
                <a:gd name="connsiteX77" fmla="*/ 246413 w 344587"/>
                <a:gd name="connsiteY77" fmla="*/ 257766 h 344988"/>
                <a:gd name="connsiteX78" fmla="*/ 249625 w 344587"/>
                <a:gd name="connsiteY78" fmla="*/ 254154 h 344988"/>
                <a:gd name="connsiteX79" fmla="*/ 244792 w 344587"/>
                <a:gd name="connsiteY79" fmla="*/ 253776 h 344988"/>
                <a:gd name="connsiteX80" fmla="*/ 102024 w 344587"/>
                <a:gd name="connsiteY80" fmla="*/ 249625 h 344988"/>
                <a:gd name="connsiteX81" fmla="*/ 99594 w 344587"/>
                <a:gd name="connsiteY81" fmla="*/ 253776 h 344988"/>
                <a:gd name="connsiteX82" fmla="*/ 94762 w 344587"/>
                <a:gd name="connsiteY82" fmla="*/ 254154 h 344988"/>
                <a:gd name="connsiteX83" fmla="*/ 97975 w 344587"/>
                <a:gd name="connsiteY83" fmla="*/ 257766 h 344988"/>
                <a:gd name="connsiteX84" fmla="*/ 96841 w 344587"/>
                <a:gd name="connsiteY84" fmla="*/ 262455 h 344988"/>
                <a:gd name="connsiteX85" fmla="*/ 101268 w 344587"/>
                <a:gd name="connsiteY85" fmla="*/ 260515 h 344988"/>
                <a:gd name="connsiteX86" fmla="*/ 105372 w 344587"/>
                <a:gd name="connsiteY86" fmla="*/ 263048 h 344988"/>
                <a:gd name="connsiteX87" fmla="*/ 104886 w 344587"/>
                <a:gd name="connsiteY87" fmla="*/ 258251 h 344988"/>
                <a:gd name="connsiteX88" fmla="*/ 108585 w 344587"/>
                <a:gd name="connsiteY88" fmla="*/ 255124 h 344988"/>
                <a:gd name="connsiteX89" fmla="*/ 103860 w 344587"/>
                <a:gd name="connsiteY89" fmla="*/ 254100 h 344988"/>
                <a:gd name="connsiteX90" fmla="*/ 254712 w 344587"/>
                <a:gd name="connsiteY90" fmla="*/ 236203 h 344988"/>
                <a:gd name="connsiteX91" fmla="*/ 253690 w 344587"/>
                <a:gd name="connsiteY91" fmla="*/ 240928 h 344988"/>
                <a:gd name="connsiteX92" fmla="*/ 249225 w 344587"/>
                <a:gd name="connsiteY92" fmla="*/ 242764 h 344988"/>
                <a:gd name="connsiteX93" fmla="*/ 253394 w 344587"/>
                <a:gd name="connsiteY93" fmla="*/ 245220 h 344988"/>
                <a:gd name="connsiteX94" fmla="*/ 253771 w 344587"/>
                <a:gd name="connsiteY94" fmla="*/ 250026 h 344988"/>
                <a:gd name="connsiteX95" fmla="*/ 257348 w 344587"/>
                <a:gd name="connsiteY95" fmla="*/ 246813 h 344988"/>
                <a:gd name="connsiteX96" fmla="*/ 262056 w 344587"/>
                <a:gd name="connsiteY96" fmla="*/ 247974 h 344988"/>
                <a:gd name="connsiteX97" fmla="*/ 260119 w 344587"/>
                <a:gd name="connsiteY97" fmla="*/ 243520 h 344988"/>
                <a:gd name="connsiteX98" fmla="*/ 262648 w 344587"/>
                <a:gd name="connsiteY98" fmla="*/ 239416 h 344988"/>
                <a:gd name="connsiteX99" fmla="*/ 257833 w 344587"/>
                <a:gd name="connsiteY99" fmla="*/ 239902 h 344988"/>
                <a:gd name="connsiteX100" fmla="*/ 89793 w 344587"/>
                <a:gd name="connsiteY100" fmla="*/ 236203 h 344988"/>
                <a:gd name="connsiteX101" fmla="*/ 86626 w 344587"/>
                <a:gd name="connsiteY101" fmla="*/ 239902 h 344988"/>
                <a:gd name="connsiteX102" fmla="*/ 81739 w 344587"/>
                <a:gd name="connsiteY102" fmla="*/ 239416 h 344988"/>
                <a:gd name="connsiteX103" fmla="*/ 84333 w 344587"/>
                <a:gd name="connsiteY103" fmla="*/ 243520 h 344988"/>
                <a:gd name="connsiteX104" fmla="*/ 82340 w 344587"/>
                <a:gd name="connsiteY104" fmla="*/ 247974 h 344988"/>
                <a:gd name="connsiteX105" fmla="*/ 87118 w 344587"/>
                <a:gd name="connsiteY105" fmla="*/ 246813 h 344988"/>
                <a:gd name="connsiteX106" fmla="*/ 90749 w 344587"/>
                <a:gd name="connsiteY106" fmla="*/ 250026 h 344988"/>
                <a:gd name="connsiteX107" fmla="*/ 91131 w 344587"/>
                <a:gd name="connsiteY107" fmla="*/ 245220 h 344988"/>
                <a:gd name="connsiteX108" fmla="*/ 95363 w 344587"/>
                <a:gd name="connsiteY108" fmla="*/ 242764 h 344988"/>
                <a:gd name="connsiteX109" fmla="*/ 90831 w 344587"/>
                <a:gd name="connsiteY109" fmla="*/ 240928 h 344988"/>
                <a:gd name="connsiteX110" fmla="*/ 264558 w 344587"/>
                <a:gd name="connsiteY110" fmla="*/ 220977 h 344988"/>
                <a:gd name="connsiteX111" fmla="*/ 264341 w 344587"/>
                <a:gd name="connsiteY111" fmla="*/ 225819 h 344988"/>
                <a:gd name="connsiteX112" fmla="*/ 260243 w 344587"/>
                <a:gd name="connsiteY112" fmla="*/ 228416 h 344988"/>
                <a:gd name="connsiteX113" fmla="*/ 264803 w 344587"/>
                <a:gd name="connsiteY113" fmla="*/ 230093 h 344988"/>
                <a:gd name="connsiteX114" fmla="*/ 265997 w 344587"/>
                <a:gd name="connsiteY114" fmla="*/ 234800 h 344988"/>
                <a:gd name="connsiteX115" fmla="*/ 269009 w 344587"/>
                <a:gd name="connsiteY115" fmla="*/ 230986 h 344988"/>
                <a:gd name="connsiteX116" fmla="*/ 273867 w 344587"/>
                <a:gd name="connsiteY116" fmla="*/ 231311 h 344988"/>
                <a:gd name="connsiteX117" fmla="*/ 271180 w 344587"/>
                <a:gd name="connsiteY117" fmla="*/ 227280 h 344988"/>
                <a:gd name="connsiteX118" fmla="*/ 272971 w 344587"/>
                <a:gd name="connsiteY118" fmla="*/ 222762 h 344988"/>
                <a:gd name="connsiteX119" fmla="*/ 268276 w 344587"/>
                <a:gd name="connsiteY119" fmla="*/ 224088 h 344988"/>
                <a:gd name="connsiteX120" fmla="*/ 80029 w 344587"/>
                <a:gd name="connsiteY120" fmla="*/ 220977 h 344988"/>
                <a:gd name="connsiteX121" fmla="*/ 76311 w 344587"/>
                <a:gd name="connsiteY121" fmla="*/ 224088 h 344988"/>
                <a:gd name="connsiteX122" fmla="*/ 71616 w 344587"/>
                <a:gd name="connsiteY122" fmla="*/ 222762 h 344988"/>
                <a:gd name="connsiteX123" fmla="*/ 73407 w 344587"/>
                <a:gd name="connsiteY123" fmla="*/ 227280 h 344988"/>
                <a:gd name="connsiteX124" fmla="*/ 70721 w 344587"/>
                <a:gd name="connsiteY124" fmla="*/ 231311 h 344988"/>
                <a:gd name="connsiteX125" fmla="*/ 75578 w 344587"/>
                <a:gd name="connsiteY125" fmla="*/ 230986 h 344988"/>
                <a:gd name="connsiteX126" fmla="*/ 78590 w 344587"/>
                <a:gd name="connsiteY126" fmla="*/ 234800 h 344988"/>
                <a:gd name="connsiteX127" fmla="*/ 79785 w 344587"/>
                <a:gd name="connsiteY127" fmla="*/ 230093 h 344988"/>
                <a:gd name="connsiteX128" fmla="*/ 84344 w 344587"/>
                <a:gd name="connsiteY128" fmla="*/ 228416 h 344988"/>
                <a:gd name="connsiteX129" fmla="*/ 80246 w 344587"/>
                <a:gd name="connsiteY129" fmla="*/ 225819 h 344988"/>
                <a:gd name="connsiteX130" fmla="*/ 271410 w 344587"/>
                <a:gd name="connsiteY130" fmla="*/ 204148 h 344988"/>
                <a:gd name="connsiteX131" fmla="*/ 272066 w 344587"/>
                <a:gd name="connsiteY131" fmla="*/ 208985 h 344988"/>
                <a:gd name="connsiteX132" fmla="*/ 268457 w 344587"/>
                <a:gd name="connsiteY132" fmla="*/ 212245 h 344988"/>
                <a:gd name="connsiteX133" fmla="*/ 273269 w 344587"/>
                <a:gd name="connsiteY133" fmla="*/ 213115 h 344988"/>
                <a:gd name="connsiteX134" fmla="*/ 275292 w 344587"/>
                <a:gd name="connsiteY134" fmla="*/ 217571 h 344988"/>
                <a:gd name="connsiteX135" fmla="*/ 277615 w 344587"/>
                <a:gd name="connsiteY135" fmla="*/ 213278 h 344988"/>
                <a:gd name="connsiteX136" fmla="*/ 282481 w 344587"/>
                <a:gd name="connsiteY136" fmla="*/ 212734 h 344988"/>
                <a:gd name="connsiteX137" fmla="*/ 279091 w 344587"/>
                <a:gd name="connsiteY137" fmla="*/ 209229 h 344988"/>
                <a:gd name="connsiteX138" fmla="*/ 280076 w 344587"/>
                <a:gd name="connsiteY138" fmla="*/ 204447 h 344988"/>
                <a:gd name="connsiteX139" fmla="*/ 275674 w 344587"/>
                <a:gd name="connsiteY139" fmla="*/ 206566 h 344988"/>
                <a:gd name="connsiteX140" fmla="*/ 73019 w 344587"/>
                <a:gd name="connsiteY140" fmla="*/ 204148 h 344988"/>
                <a:gd name="connsiteX141" fmla="*/ 68816 w 344587"/>
                <a:gd name="connsiteY141" fmla="*/ 206566 h 344988"/>
                <a:gd name="connsiteX142" fmla="*/ 64477 w 344587"/>
                <a:gd name="connsiteY142" fmla="*/ 204447 h 344988"/>
                <a:gd name="connsiteX143" fmla="*/ 65447 w 344587"/>
                <a:gd name="connsiteY143" fmla="*/ 209229 h 344988"/>
                <a:gd name="connsiteX144" fmla="*/ 62106 w 344587"/>
                <a:gd name="connsiteY144" fmla="*/ 212734 h 344988"/>
                <a:gd name="connsiteX145" fmla="*/ 66903 w 344587"/>
                <a:gd name="connsiteY145" fmla="*/ 213278 h 344988"/>
                <a:gd name="connsiteX146" fmla="*/ 69193 w 344587"/>
                <a:gd name="connsiteY146" fmla="*/ 217571 h 344988"/>
                <a:gd name="connsiteX147" fmla="*/ 71187 w 344587"/>
                <a:gd name="connsiteY147" fmla="*/ 213115 h 344988"/>
                <a:gd name="connsiteX148" fmla="*/ 75929 w 344587"/>
                <a:gd name="connsiteY148" fmla="*/ 212245 h 344988"/>
                <a:gd name="connsiteX149" fmla="*/ 72373 w 344587"/>
                <a:gd name="connsiteY149" fmla="*/ 208985 h 344988"/>
                <a:gd name="connsiteX150" fmla="*/ 283915 w 344587"/>
                <a:gd name="connsiteY150" fmla="*/ 185116 h 344988"/>
                <a:gd name="connsiteX151" fmla="*/ 279950 w 344587"/>
                <a:gd name="connsiteY151" fmla="*/ 187963 h 344988"/>
                <a:gd name="connsiteX152" fmla="*/ 275388 w 344587"/>
                <a:gd name="connsiteY152" fmla="*/ 186320 h 344988"/>
                <a:gd name="connsiteX153" fmla="*/ 276854 w 344587"/>
                <a:gd name="connsiteY153" fmla="*/ 191001 h 344988"/>
                <a:gd name="connsiteX154" fmla="*/ 273867 w 344587"/>
                <a:gd name="connsiteY154" fmla="*/ 194861 h 344988"/>
                <a:gd name="connsiteX155" fmla="*/ 278755 w 344587"/>
                <a:gd name="connsiteY155" fmla="*/ 194888 h 344988"/>
                <a:gd name="connsiteX156" fmla="*/ 281498 w 344587"/>
                <a:gd name="connsiteY156" fmla="*/ 198939 h 344988"/>
                <a:gd name="connsiteX157" fmla="*/ 283019 w 344587"/>
                <a:gd name="connsiteY157" fmla="*/ 194286 h 344988"/>
                <a:gd name="connsiteX158" fmla="*/ 287690 w 344587"/>
                <a:gd name="connsiteY158" fmla="*/ 192917 h 344988"/>
                <a:gd name="connsiteX159" fmla="*/ 283780 w 344587"/>
                <a:gd name="connsiteY159" fmla="*/ 190015 h 344988"/>
                <a:gd name="connsiteX160" fmla="*/ 60472 w 344587"/>
                <a:gd name="connsiteY160" fmla="*/ 185116 h 344988"/>
                <a:gd name="connsiteX161" fmla="*/ 60608 w 344587"/>
                <a:gd name="connsiteY161" fmla="*/ 190015 h 344988"/>
                <a:gd name="connsiteX162" fmla="*/ 56697 w 344587"/>
                <a:gd name="connsiteY162" fmla="*/ 192917 h 344988"/>
                <a:gd name="connsiteX163" fmla="*/ 61368 w 344587"/>
                <a:gd name="connsiteY163" fmla="*/ 194286 h 344988"/>
                <a:gd name="connsiteX164" fmla="*/ 62889 w 344587"/>
                <a:gd name="connsiteY164" fmla="*/ 198939 h 344988"/>
                <a:gd name="connsiteX165" fmla="*/ 65632 w 344587"/>
                <a:gd name="connsiteY165" fmla="*/ 194888 h 344988"/>
                <a:gd name="connsiteX166" fmla="*/ 70520 w 344587"/>
                <a:gd name="connsiteY166" fmla="*/ 194861 h 344988"/>
                <a:gd name="connsiteX167" fmla="*/ 67533 w 344587"/>
                <a:gd name="connsiteY167" fmla="*/ 191001 h 344988"/>
                <a:gd name="connsiteX168" fmla="*/ 68999 w 344587"/>
                <a:gd name="connsiteY168" fmla="*/ 186320 h 344988"/>
                <a:gd name="connsiteX169" fmla="*/ 64437 w 344587"/>
                <a:gd name="connsiteY169" fmla="*/ 187963 h 344988"/>
                <a:gd name="connsiteX170" fmla="*/ 284437 w 344587"/>
                <a:gd name="connsiteY170" fmla="*/ 165482 h 344988"/>
                <a:gd name="connsiteX171" fmla="*/ 281057 w 344587"/>
                <a:gd name="connsiteY171" fmla="*/ 168981 h 344988"/>
                <a:gd name="connsiteX172" fmla="*/ 276271 w 344587"/>
                <a:gd name="connsiteY172" fmla="*/ 168161 h 344988"/>
                <a:gd name="connsiteX173" fmla="*/ 278542 w 344587"/>
                <a:gd name="connsiteY173" fmla="*/ 172508 h 344988"/>
                <a:gd name="connsiteX174" fmla="*/ 276271 w 344587"/>
                <a:gd name="connsiteY174" fmla="*/ 176827 h 344988"/>
                <a:gd name="connsiteX175" fmla="*/ 281057 w 344587"/>
                <a:gd name="connsiteY175" fmla="*/ 176007 h 344988"/>
                <a:gd name="connsiteX176" fmla="*/ 284437 w 344587"/>
                <a:gd name="connsiteY176" fmla="*/ 179506 h 344988"/>
                <a:gd name="connsiteX177" fmla="*/ 285140 w 344587"/>
                <a:gd name="connsiteY177" fmla="*/ 174667 h 344988"/>
                <a:gd name="connsiteX178" fmla="*/ 289493 w 344587"/>
                <a:gd name="connsiteY178" fmla="*/ 172508 h 344988"/>
                <a:gd name="connsiteX179" fmla="*/ 285140 w 344587"/>
                <a:gd name="connsiteY179" fmla="*/ 170321 h 344988"/>
                <a:gd name="connsiteX180" fmla="*/ 60027 w 344587"/>
                <a:gd name="connsiteY180" fmla="*/ 165482 h 344988"/>
                <a:gd name="connsiteX181" fmla="*/ 59313 w 344587"/>
                <a:gd name="connsiteY181" fmla="*/ 170321 h 344988"/>
                <a:gd name="connsiteX182" fmla="*/ 54894 w 344587"/>
                <a:gd name="connsiteY182" fmla="*/ 172508 h 344988"/>
                <a:gd name="connsiteX183" fmla="*/ 59313 w 344587"/>
                <a:gd name="connsiteY183" fmla="*/ 174667 h 344988"/>
                <a:gd name="connsiteX184" fmla="*/ 60027 w 344587"/>
                <a:gd name="connsiteY184" fmla="*/ 179506 h 344988"/>
                <a:gd name="connsiteX185" fmla="*/ 63458 w 344587"/>
                <a:gd name="connsiteY185" fmla="*/ 176007 h 344988"/>
                <a:gd name="connsiteX186" fmla="*/ 68317 w 344587"/>
                <a:gd name="connsiteY186" fmla="*/ 176827 h 344988"/>
                <a:gd name="connsiteX187" fmla="*/ 66011 w 344587"/>
                <a:gd name="connsiteY187" fmla="*/ 172508 h 344988"/>
                <a:gd name="connsiteX188" fmla="*/ 68317 w 344587"/>
                <a:gd name="connsiteY188" fmla="*/ 168161 h 344988"/>
                <a:gd name="connsiteX189" fmla="*/ 63458 w 344587"/>
                <a:gd name="connsiteY189" fmla="*/ 168981 h 344988"/>
                <a:gd name="connsiteX190" fmla="*/ 281498 w 344587"/>
                <a:gd name="connsiteY190" fmla="*/ 146049 h 344988"/>
                <a:gd name="connsiteX191" fmla="*/ 278755 w 344587"/>
                <a:gd name="connsiteY191" fmla="*/ 150092 h 344988"/>
                <a:gd name="connsiteX192" fmla="*/ 273867 w 344587"/>
                <a:gd name="connsiteY192" fmla="*/ 150120 h 344988"/>
                <a:gd name="connsiteX193" fmla="*/ 276854 w 344587"/>
                <a:gd name="connsiteY193" fmla="*/ 153999 h 344988"/>
                <a:gd name="connsiteX194" fmla="*/ 275388 w 344587"/>
                <a:gd name="connsiteY194" fmla="*/ 158670 h 344988"/>
                <a:gd name="connsiteX195" fmla="*/ 279950 w 344587"/>
                <a:gd name="connsiteY195" fmla="*/ 157004 h 344988"/>
                <a:gd name="connsiteX196" fmla="*/ 283915 w 344587"/>
                <a:gd name="connsiteY196" fmla="*/ 159872 h 344988"/>
                <a:gd name="connsiteX197" fmla="*/ 283780 w 344587"/>
                <a:gd name="connsiteY197" fmla="*/ 154955 h 344988"/>
                <a:gd name="connsiteX198" fmla="*/ 287690 w 344587"/>
                <a:gd name="connsiteY198" fmla="*/ 152059 h 344988"/>
                <a:gd name="connsiteX199" fmla="*/ 283019 w 344587"/>
                <a:gd name="connsiteY199" fmla="*/ 150693 h 344988"/>
                <a:gd name="connsiteX200" fmla="*/ 62889 w 344587"/>
                <a:gd name="connsiteY200" fmla="*/ 146049 h 344988"/>
                <a:gd name="connsiteX201" fmla="*/ 61368 w 344587"/>
                <a:gd name="connsiteY201" fmla="*/ 150693 h 344988"/>
                <a:gd name="connsiteX202" fmla="*/ 56697 w 344587"/>
                <a:gd name="connsiteY202" fmla="*/ 152059 h 344988"/>
                <a:gd name="connsiteX203" fmla="*/ 60608 w 344587"/>
                <a:gd name="connsiteY203" fmla="*/ 154955 h 344988"/>
                <a:gd name="connsiteX204" fmla="*/ 60472 w 344587"/>
                <a:gd name="connsiteY204" fmla="*/ 159872 h 344988"/>
                <a:gd name="connsiteX205" fmla="*/ 64437 w 344587"/>
                <a:gd name="connsiteY205" fmla="*/ 157004 h 344988"/>
                <a:gd name="connsiteX206" fmla="*/ 68999 w 344587"/>
                <a:gd name="connsiteY206" fmla="*/ 158670 h 344988"/>
                <a:gd name="connsiteX207" fmla="*/ 67533 w 344587"/>
                <a:gd name="connsiteY207" fmla="*/ 153999 h 344988"/>
                <a:gd name="connsiteX208" fmla="*/ 70520 w 344587"/>
                <a:gd name="connsiteY208" fmla="*/ 150120 h 344988"/>
                <a:gd name="connsiteX209" fmla="*/ 65632 w 344587"/>
                <a:gd name="connsiteY209" fmla="*/ 150092 h 344988"/>
                <a:gd name="connsiteX210" fmla="*/ 275292 w 344587"/>
                <a:gd name="connsiteY210" fmla="*/ 127618 h 344988"/>
                <a:gd name="connsiteX211" fmla="*/ 273269 w 344587"/>
                <a:gd name="connsiteY211" fmla="*/ 132007 h 344988"/>
                <a:gd name="connsiteX212" fmla="*/ 268457 w 344587"/>
                <a:gd name="connsiteY212" fmla="*/ 132864 h 344988"/>
                <a:gd name="connsiteX213" fmla="*/ 272066 w 344587"/>
                <a:gd name="connsiteY213" fmla="*/ 136103 h 344988"/>
                <a:gd name="connsiteX214" fmla="*/ 271410 w 344587"/>
                <a:gd name="connsiteY214" fmla="*/ 140840 h 344988"/>
                <a:gd name="connsiteX215" fmla="*/ 275674 w 344587"/>
                <a:gd name="connsiteY215" fmla="*/ 138458 h 344988"/>
                <a:gd name="connsiteX216" fmla="*/ 280076 w 344587"/>
                <a:gd name="connsiteY216" fmla="*/ 140546 h 344988"/>
                <a:gd name="connsiteX217" fmla="*/ 279091 w 344587"/>
                <a:gd name="connsiteY217" fmla="*/ 135862 h 344988"/>
                <a:gd name="connsiteX218" fmla="*/ 282481 w 344587"/>
                <a:gd name="connsiteY218" fmla="*/ 132382 h 344988"/>
                <a:gd name="connsiteX219" fmla="*/ 277615 w 344587"/>
                <a:gd name="connsiteY219" fmla="*/ 131847 h 344988"/>
                <a:gd name="connsiteX220" fmla="*/ 69193 w 344587"/>
                <a:gd name="connsiteY220" fmla="*/ 127618 h 344988"/>
                <a:gd name="connsiteX221" fmla="*/ 66903 w 344587"/>
                <a:gd name="connsiteY221" fmla="*/ 131847 h 344988"/>
                <a:gd name="connsiteX222" fmla="*/ 62106 w 344587"/>
                <a:gd name="connsiteY222" fmla="*/ 132382 h 344988"/>
                <a:gd name="connsiteX223" fmla="*/ 65447 w 344587"/>
                <a:gd name="connsiteY223" fmla="*/ 135862 h 344988"/>
                <a:gd name="connsiteX224" fmla="*/ 64477 w 344587"/>
                <a:gd name="connsiteY224" fmla="*/ 140546 h 344988"/>
                <a:gd name="connsiteX225" fmla="*/ 68816 w 344587"/>
                <a:gd name="connsiteY225" fmla="*/ 138458 h 344988"/>
                <a:gd name="connsiteX226" fmla="*/ 73019 w 344587"/>
                <a:gd name="connsiteY226" fmla="*/ 140840 h 344988"/>
                <a:gd name="connsiteX227" fmla="*/ 72373 w 344587"/>
                <a:gd name="connsiteY227" fmla="*/ 136103 h 344988"/>
                <a:gd name="connsiteX228" fmla="*/ 75929 w 344587"/>
                <a:gd name="connsiteY228" fmla="*/ 132864 h 344988"/>
                <a:gd name="connsiteX229" fmla="*/ 71187 w 344587"/>
                <a:gd name="connsiteY229" fmla="*/ 132007 h 344988"/>
                <a:gd name="connsiteX230" fmla="*/ 265997 w 344587"/>
                <a:gd name="connsiteY230" fmla="*/ 110188 h 344988"/>
                <a:gd name="connsiteX231" fmla="*/ 264803 w 344587"/>
                <a:gd name="connsiteY231" fmla="*/ 114963 h 344988"/>
                <a:gd name="connsiteX232" fmla="*/ 260243 w 344587"/>
                <a:gd name="connsiteY232" fmla="*/ 116665 h 344988"/>
                <a:gd name="connsiteX233" fmla="*/ 264341 w 344587"/>
                <a:gd name="connsiteY233" fmla="*/ 119299 h 344988"/>
                <a:gd name="connsiteX234" fmla="*/ 264558 w 344587"/>
                <a:gd name="connsiteY234" fmla="*/ 124212 h 344988"/>
                <a:gd name="connsiteX235" fmla="*/ 268276 w 344587"/>
                <a:gd name="connsiteY235" fmla="*/ 121083 h 344988"/>
                <a:gd name="connsiteX236" fmla="*/ 272971 w 344587"/>
                <a:gd name="connsiteY236" fmla="*/ 122401 h 344988"/>
                <a:gd name="connsiteX237" fmla="*/ 271180 w 344587"/>
                <a:gd name="connsiteY237" fmla="*/ 117845 h 344988"/>
                <a:gd name="connsiteX238" fmla="*/ 273867 w 344587"/>
                <a:gd name="connsiteY238" fmla="*/ 113756 h 344988"/>
                <a:gd name="connsiteX239" fmla="*/ 269009 w 344587"/>
                <a:gd name="connsiteY239" fmla="*/ 114057 h 344988"/>
                <a:gd name="connsiteX240" fmla="*/ 78590 w 344587"/>
                <a:gd name="connsiteY240" fmla="*/ 110188 h 344988"/>
                <a:gd name="connsiteX241" fmla="*/ 75578 w 344587"/>
                <a:gd name="connsiteY241" fmla="*/ 114057 h 344988"/>
                <a:gd name="connsiteX242" fmla="*/ 70721 w 344587"/>
                <a:gd name="connsiteY242" fmla="*/ 113756 h 344988"/>
                <a:gd name="connsiteX243" fmla="*/ 73407 w 344587"/>
                <a:gd name="connsiteY243" fmla="*/ 117845 h 344988"/>
                <a:gd name="connsiteX244" fmla="*/ 71616 w 344587"/>
                <a:gd name="connsiteY244" fmla="*/ 122401 h 344988"/>
                <a:gd name="connsiteX245" fmla="*/ 76311 w 344587"/>
                <a:gd name="connsiteY245" fmla="*/ 121083 h 344988"/>
                <a:gd name="connsiteX246" fmla="*/ 80029 w 344587"/>
                <a:gd name="connsiteY246" fmla="*/ 124212 h 344988"/>
                <a:gd name="connsiteX247" fmla="*/ 80246 w 344587"/>
                <a:gd name="connsiteY247" fmla="*/ 119299 h 344988"/>
                <a:gd name="connsiteX248" fmla="*/ 84344 w 344587"/>
                <a:gd name="connsiteY248" fmla="*/ 116665 h 344988"/>
                <a:gd name="connsiteX249" fmla="*/ 79785 w 344587"/>
                <a:gd name="connsiteY249" fmla="*/ 114963 h 344988"/>
                <a:gd name="connsiteX250" fmla="*/ 172293 w 344587"/>
                <a:gd name="connsiteY250" fmla="*/ 107507 h 344988"/>
                <a:gd name="connsiteX251" fmla="*/ 164742 w 344587"/>
                <a:gd name="connsiteY251" fmla="*/ 112163 h 344988"/>
                <a:gd name="connsiteX252" fmla="*/ 148477 w 344587"/>
                <a:gd name="connsiteY252" fmla="*/ 145335 h 344988"/>
                <a:gd name="connsiteX253" fmla="*/ 111881 w 344587"/>
                <a:gd name="connsiteY253" fmla="*/ 150766 h 344988"/>
                <a:gd name="connsiteX254" fmla="*/ 104910 w 344587"/>
                <a:gd name="connsiteY254" fmla="*/ 156392 h 344988"/>
                <a:gd name="connsiteX255" fmla="*/ 107234 w 344587"/>
                <a:gd name="connsiteY255" fmla="*/ 165121 h 344988"/>
                <a:gd name="connsiteX256" fmla="*/ 133567 w 344587"/>
                <a:gd name="connsiteY256" fmla="*/ 190922 h 344988"/>
                <a:gd name="connsiteX257" fmla="*/ 127371 w 344587"/>
                <a:gd name="connsiteY257" fmla="*/ 227392 h 344988"/>
                <a:gd name="connsiteX258" fmla="*/ 130663 w 344587"/>
                <a:gd name="connsiteY258" fmla="*/ 235733 h 344988"/>
                <a:gd name="connsiteX259" fmla="*/ 135697 w 344587"/>
                <a:gd name="connsiteY259" fmla="*/ 237479 h 344988"/>
                <a:gd name="connsiteX260" fmla="*/ 139570 w 344587"/>
                <a:gd name="connsiteY260" fmla="*/ 236509 h 344988"/>
                <a:gd name="connsiteX261" fmla="*/ 172293 w 344587"/>
                <a:gd name="connsiteY261" fmla="*/ 219244 h 344988"/>
                <a:gd name="connsiteX262" fmla="*/ 205016 w 344587"/>
                <a:gd name="connsiteY262" fmla="*/ 236509 h 344988"/>
                <a:gd name="connsiteX263" fmla="*/ 209083 w 344587"/>
                <a:gd name="connsiteY263" fmla="*/ 237479 h 344988"/>
                <a:gd name="connsiteX264" fmla="*/ 213923 w 344587"/>
                <a:gd name="connsiteY264" fmla="*/ 235733 h 344988"/>
                <a:gd name="connsiteX265" fmla="*/ 217409 w 344587"/>
                <a:gd name="connsiteY265" fmla="*/ 227392 h 344988"/>
                <a:gd name="connsiteX266" fmla="*/ 211213 w 344587"/>
                <a:gd name="connsiteY266" fmla="*/ 190922 h 344988"/>
                <a:gd name="connsiteX267" fmla="*/ 237546 w 344587"/>
                <a:gd name="connsiteY267" fmla="*/ 165121 h 344988"/>
                <a:gd name="connsiteX268" fmla="*/ 239676 w 344587"/>
                <a:gd name="connsiteY268" fmla="*/ 156392 h 344988"/>
                <a:gd name="connsiteX269" fmla="*/ 232899 w 344587"/>
                <a:gd name="connsiteY269" fmla="*/ 150766 h 344988"/>
                <a:gd name="connsiteX270" fmla="*/ 196303 w 344587"/>
                <a:gd name="connsiteY270" fmla="*/ 145335 h 344988"/>
                <a:gd name="connsiteX271" fmla="*/ 180038 w 344587"/>
                <a:gd name="connsiteY271" fmla="*/ 112163 h 344988"/>
                <a:gd name="connsiteX272" fmla="*/ 172293 w 344587"/>
                <a:gd name="connsiteY272" fmla="*/ 107507 h 344988"/>
                <a:gd name="connsiteX273" fmla="*/ 253771 w 344587"/>
                <a:gd name="connsiteY273" fmla="*/ 94962 h 344988"/>
                <a:gd name="connsiteX274" fmla="*/ 253394 w 344587"/>
                <a:gd name="connsiteY274" fmla="*/ 99795 h 344988"/>
                <a:gd name="connsiteX275" fmla="*/ 249225 w 344587"/>
                <a:gd name="connsiteY275" fmla="*/ 102225 h 344988"/>
                <a:gd name="connsiteX276" fmla="*/ 253690 w 344587"/>
                <a:gd name="connsiteY276" fmla="*/ 104061 h 344988"/>
                <a:gd name="connsiteX277" fmla="*/ 254712 w 344587"/>
                <a:gd name="connsiteY277" fmla="*/ 108785 h 344988"/>
                <a:gd name="connsiteX278" fmla="*/ 257833 w 344587"/>
                <a:gd name="connsiteY278" fmla="*/ 105114 h 344988"/>
                <a:gd name="connsiteX279" fmla="*/ 262648 w 344587"/>
                <a:gd name="connsiteY279" fmla="*/ 105573 h 344988"/>
                <a:gd name="connsiteX280" fmla="*/ 260119 w 344587"/>
                <a:gd name="connsiteY280" fmla="*/ 101469 h 344988"/>
                <a:gd name="connsiteX281" fmla="*/ 262056 w 344587"/>
                <a:gd name="connsiteY281" fmla="*/ 97041 h 344988"/>
                <a:gd name="connsiteX282" fmla="*/ 257348 w 344587"/>
                <a:gd name="connsiteY282" fmla="*/ 98175 h 344988"/>
                <a:gd name="connsiteX283" fmla="*/ 90749 w 344587"/>
                <a:gd name="connsiteY283" fmla="*/ 94962 h 344988"/>
                <a:gd name="connsiteX284" fmla="*/ 87118 w 344587"/>
                <a:gd name="connsiteY284" fmla="*/ 98175 h 344988"/>
                <a:gd name="connsiteX285" fmla="*/ 82340 w 344587"/>
                <a:gd name="connsiteY285" fmla="*/ 97041 h 344988"/>
                <a:gd name="connsiteX286" fmla="*/ 84333 w 344587"/>
                <a:gd name="connsiteY286" fmla="*/ 101469 h 344988"/>
                <a:gd name="connsiteX287" fmla="*/ 81739 w 344587"/>
                <a:gd name="connsiteY287" fmla="*/ 105573 h 344988"/>
                <a:gd name="connsiteX288" fmla="*/ 86626 w 344587"/>
                <a:gd name="connsiteY288" fmla="*/ 105114 h 344988"/>
                <a:gd name="connsiteX289" fmla="*/ 89793 w 344587"/>
                <a:gd name="connsiteY289" fmla="*/ 108785 h 344988"/>
                <a:gd name="connsiteX290" fmla="*/ 90831 w 344587"/>
                <a:gd name="connsiteY290" fmla="*/ 104061 h 344988"/>
                <a:gd name="connsiteX291" fmla="*/ 95363 w 344587"/>
                <a:gd name="connsiteY291" fmla="*/ 102225 h 344988"/>
                <a:gd name="connsiteX292" fmla="*/ 91131 w 344587"/>
                <a:gd name="connsiteY292" fmla="*/ 99795 h 344988"/>
                <a:gd name="connsiteX293" fmla="*/ 239015 w 344587"/>
                <a:gd name="connsiteY293" fmla="*/ 81940 h 344988"/>
                <a:gd name="connsiteX294" fmla="*/ 239501 w 344587"/>
                <a:gd name="connsiteY294" fmla="*/ 86827 h 344988"/>
                <a:gd name="connsiteX295" fmla="*/ 235802 w 344587"/>
                <a:gd name="connsiteY295" fmla="*/ 89993 h 344988"/>
                <a:gd name="connsiteX296" fmla="*/ 240527 w 344587"/>
                <a:gd name="connsiteY296" fmla="*/ 91031 h 344988"/>
                <a:gd name="connsiteX297" fmla="*/ 242363 w 344587"/>
                <a:gd name="connsiteY297" fmla="*/ 95563 h 344988"/>
                <a:gd name="connsiteX298" fmla="*/ 244792 w 344587"/>
                <a:gd name="connsiteY298" fmla="*/ 91331 h 344988"/>
                <a:gd name="connsiteX299" fmla="*/ 249625 w 344587"/>
                <a:gd name="connsiteY299" fmla="*/ 90976 h 344988"/>
                <a:gd name="connsiteX300" fmla="*/ 246413 w 344587"/>
                <a:gd name="connsiteY300" fmla="*/ 87318 h 344988"/>
                <a:gd name="connsiteX301" fmla="*/ 247546 w 344587"/>
                <a:gd name="connsiteY301" fmla="*/ 82568 h 344988"/>
                <a:gd name="connsiteX302" fmla="*/ 243119 w 344587"/>
                <a:gd name="connsiteY302" fmla="*/ 84533 h 344988"/>
                <a:gd name="connsiteX303" fmla="*/ 105372 w 344587"/>
                <a:gd name="connsiteY303" fmla="*/ 81940 h 344988"/>
                <a:gd name="connsiteX304" fmla="*/ 101268 w 344587"/>
                <a:gd name="connsiteY304" fmla="*/ 84533 h 344988"/>
                <a:gd name="connsiteX305" fmla="*/ 96841 w 344587"/>
                <a:gd name="connsiteY305" fmla="*/ 82568 h 344988"/>
                <a:gd name="connsiteX306" fmla="*/ 97975 w 344587"/>
                <a:gd name="connsiteY306" fmla="*/ 87318 h 344988"/>
                <a:gd name="connsiteX307" fmla="*/ 94762 w 344587"/>
                <a:gd name="connsiteY307" fmla="*/ 90976 h 344988"/>
                <a:gd name="connsiteX308" fmla="*/ 99594 w 344587"/>
                <a:gd name="connsiteY308" fmla="*/ 91331 h 344988"/>
                <a:gd name="connsiteX309" fmla="*/ 102024 w 344587"/>
                <a:gd name="connsiteY309" fmla="*/ 95563 h 344988"/>
                <a:gd name="connsiteX310" fmla="*/ 103860 w 344587"/>
                <a:gd name="connsiteY310" fmla="*/ 91031 h 344988"/>
                <a:gd name="connsiteX311" fmla="*/ 108585 w 344587"/>
                <a:gd name="connsiteY311" fmla="*/ 89993 h 344988"/>
                <a:gd name="connsiteX312" fmla="*/ 104886 w 344587"/>
                <a:gd name="connsiteY312" fmla="*/ 86827 h 344988"/>
                <a:gd name="connsiteX313" fmla="*/ 230910 w 344587"/>
                <a:gd name="connsiteY313" fmla="*/ 70720 h 344988"/>
                <a:gd name="connsiteX314" fmla="*/ 226879 w 344587"/>
                <a:gd name="connsiteY314" fmla="*/ 73474 h 344988"/>
                <a:gd name="connsiteX315" fmla="*/ 222361 w 344587"/>
                <a:gd name="connsiteY315" fmla="*/ 71629 h 344988"/>
                <a:gd name="connsiteX316" fmla="*/ 223687 w 344587"/>
                <a:gd name="connsiteY316" fmla="*/ 76393 h 344988"/>
                <a:gd name="connsiteX317" fmla="*/ 220576 w 344587"/>
                <a:gd name="connsiteY317" fmla="*/ 80193 h 344988"/>
                <a:gd name="connsiteX318" fmla="*/ 225418 w 344587"/>
                <a:gd name="connsiteY318" fmla="*/ 80386 h 344988"/>
                <a:gd name="connsiteX319" fmla="*/ 228015 w 344587"/>
                <a:gd name="connsiteY319" fmla="*/ 84544 h 344988"/>
                <a:gd name="connsiteX320" fmla="*/ 229692 w 344587"/>
                <a:gd name="connsiteY320" fmla="*/ 79918 h 344988"/>
                <a:gd name="connsiteX321" fmla="*/ 234399 w 344587"/>
                <a:gd name="connsiteY321" fmla="*/ 78706 h 344988"/>
                <a:gd name="connsiteX322" fmla="*/ 230585 w 344587"/>
                <a:gd name="connsiteY322" fmla="*/ 75650 h 344988"/>
                <a:gd name="connsiteX323" fmla="*/ 113678 w 344587"/>
                <a:gd name="connsiteY323" fmla="*/ 70720 h 344988"/>
                <a:gd name="connsiteX324" fmla="*/ 114002 w 344587"/>
                <a:gd name="connsiteY324" fmla="*/ 75650 h 344988"/>
                <a:gd name="connsiteX325" fmla="*/ 110188 w 344587"/>
                <a:gd name="connsiteY325" fmla="*/ 78706 h 344988"/>
                <a:gd name="connsiteX326" fmla="*/ 114895 w 344587"/>
                <a:gd name="connsiteY326" fmla="*/ 79918 h 344988"/>
                <a:gd name="connsiteX327" fmla="*/ 116572 w 344587"/>
                <a:gd name="connsiteY327" fmla="*/ 84544 h 344988"/>
                <a:gd name="connsiteX328" fmla="*/ 119169 w 344587"/>
                <a:gd name="connsiteY328" fmla="*/ 80386 h 344988"/>
                <a:gd name="connsiteX329" fmla="*/ 124011 w 344587"/>
                <a:gd name="connsiteY329" fmla="*/ 80193 h 344988"/>
                <a:gd name="connsiteX330" fmla="*/ 120900 w 344587"/>
                <a:gd name="connsiteY330" fmla="*/ 76393 h 344988"/>
                <a:gd name="connsiteX331" fmla="*/ 122226 w 344587"/>
                <a:gd name="connsiteY331" fmla="*/ 71629 h 344988"/>
                <a:gd name="connsiteX332" fmla="*/ 117708 w 344587"/>
                <a:gd name="connsiteY332" fmla="*/ 73474 h 344988"/>
                <a:gd name="connsiteX333" fmla="*/ 212334 w 344587"/>
                <a:gd name="connsiteY333" fmla="*/ 62106 h 344988"/>
                <a:gd name="connsiteX334" fmla="*/ 208828 w 344587"/>
                <a:gd name="connsiteY334" fmla="*/ 65489 h 344988"/>
                <a:gd name="connsiteX335" fmla="*/ 204046 w 344587"/>
                <a:gd name="connsiteY335" fmla="*/ 64507 h 344988"/>
                <a:gd name="connsiteX336" fmla="*/ 206165 w 344587"/>
                <a:gd name="connsiteY336" fmla="*/ 68900 h 344988"/>
                <a:gd name="connsiteX337" fmla="*/ 203747 w 344587"/>
                <a:gd name="connsiteY337" fmla="*/ 73156 h 344988"/>
                <a:gd name="connsiteX338" fmla="*/ 208584 w 344587"/>
                <a:gd name="connsiteY338" fmla="*/ 72501 h 344988"/>
                <a:gd name="connsiteX339" fmla="*/ 211844 w 344587"/>
                <a:gd name="connsiteY339" fmla="*/ 76130 h 344988"/>
                <a:gd name="connsiteX340" fmla="*/ 212714 w 344587"/>
                <a:gd name="connsiteY340" fmla="*/ 71301 h 344988"/>
                <a:gd name="connsiteX341" fmla="*/ 217170 w 344587"/>
                <a:gd name="connsiteY341" fmla="*/ 69282 h 344988"/>
                <a:gd name="connsiteX342" fmla="*/ 212877 w 344587"/>
                <a:gd name="connsiteY342" fmla="*/ 66962 h 344988"/>
                <a:gd name="connsiteX343" fmla="*/ 132182 w 344587"/>
                <a:gd name="connsiteY343" fmla="*/ 62106 h 344988"/>
                <a:gd name="connsiteX344" fmla="*/ 131646 w 344587"/>
                <a:gd name="connsiteY344" fmla="*/ 66962 h 344988"/>
                <a:gd name="connsiteX345" fmla="*/ 127417 w 344587"/>
                <a:gd name="connsiteY345" fmla="*/ 69282 h 344988"/>
                <a:gd name="connsiteX346" fmla="*/ 131807 w 344587"/>
                <a:gd name="connsiteY346" fmla="*/ 71301 h 344988"/>
                <a:gd name="connsiteX347" fmla="*/ 132663 w 344587"/>
                <a:gd name="connsiteY347" fmla="*/ 76130 h 344988"/>
                <a:gd name="connsiteX348" fmla="*/ 135875 w 344587"/>
                <a:gd name="connsiteY348" fmla="*/ 72501 h 344988"/>
                <a:gd name="connsiteX349" fmla="*/ 140640 w 344587"/>
                <a:gd name="connsiteY349" fmla="*/ 73156 h 344988"/>
                <a:gd name="connsiteX350" fmla="*/ 138258 w 344587"/>
                <a:gd name="connsiteY350" fmla="*/ 68900 h 344988"/>
                <a:gd name="connsiteX351" fmla="*/ 140345 w 344587"/>
                <a:gd name="connsiteY351" fmla="*/ 64507 h 344988"/>
                <a:gd name="connsiteX352" fmla="*/ 135635 w 344587"/>
                <a:gd name="connsiteY352" fmla="*/ 65489 h 344988"/>
                <a:gd name="connsiteX353" fmla="*/ 192615 w 344587"/>
                <a:gd name="connsiteY353" fmla="*/ 56897 h 344988"/>
                <a:gd name="connsiteX354" fmla="*/ 189761 w 344587"/>
                <a:gd name="connsiteY354" fmla="*/ 60835 h 344988"/>
                <a:gd name="connsiteX355" fmla="*/ 184915 w 344587"/>
                <a:gd name="connsiteY355" fmla="*/ 60672 h 344988"/>
                <a:gd name="connsiteX356" fmla="*/ 187742 w 344587"/>
                <a:gd name="connsiteY356" fmla="*/ 64637 h 344988"/>
                <a:gd name="connsiteX357" fmla="*/ 186127 w 344587"/>
                <a:gd name="connsiteY357" fmla="*/ 69227 h 344988"/>
                <a:gd name="connsiteX358" fmla="*/ 190704 w 344587"/>
                <a:gd name="connsiteY358" fmla="*/ 67733 h 344988"/>
                <a:gd name="connsiteX359" fmla="*/ 194527 w 344587"/>
                <a:gd name="connsiteY359" fmla="*/ 70720 h 344988"/>
                <a:gd name="connsiteX360" fmla="*/ 194554 w 344587"/>
                <a:gd name="connsiteY360" fmla="*/ 65832 h 344988"/>
                <a:gd name="connsiteX361" fmla="*/ 198538 w 344587"/>
                <a:gd name="connsiteY361" fmla="*/ 63089 h 344988"/>
                <a:gd name="connsiteX362" fmla="*/ 193961 w 344587"/>
                <a:gd name="connsiteY362" fmla="*/ 61568 h 344988"/>
                <a:gd name="connsiteX363" fmla="*/ 151859 w 344587"/>
                <a:gd name="connsiteY363" fmla="*/ 56897 h 344988"/>
                <a:gd name="connsiteX364" fmla="*/ 150493 w 344587"/>
                <a:gd name="connsiteY364" fmla="*/ 61568 h 344988"/>
                <a:gd name="connsiteX365" fmla="*/ 145849 w 344587"/>
                <a:gd name="connsiteY365" fmla="*/ 63089 h 344988"/>
                <a:gd name="connsiteX366" fmla="*/ 149892 w 344587"/>
                <a:gd name="connsiteY366" fmla="*/ 65832 h 344988"/>
                <a:gd name="connsiteX367" fmla="*/ 149919 w 344587"/>
                <a:gd name="connsiteY367" fmla="*/ 70720 h 344988"/>
                <a:gd name="connsiteX368" fmla="*/ 153798 w 344587"/>
                <a:gd name="connsiteY368" fmla="*/ 67733 h 344988"/>
                <a:gd name="connsiteX369" fmla="*/ 158443 w 344587"/>
                <a:gd name="connsiteY369" fmla="*/ 69227 h 344988"/>
                <a:gd name="connsiteX370" fmla="*/ 156804 w 344587"/>
                <a:gd name="connsiteY370" fmla="*/ 64637 h 344988"/>
                <a:gd name="connsiteX371" fmla="*/ 159672 w 344587"/>
                <a:gd name="connsiteY371" fmla="*/ 60672 h 344988"/>
                <a:gd name="connsiteX372" fmla="*/ 154755 w 344587"/>
                <a:gd name="connsiteY372" fmla="*/ 60835 h 344988"/>
                <a:gd name="connsiteX373" fmla="*/ 172307 w 344587"/>
                <a:gd name="connsiteY373" fmla="*/ 55094 h 344988"/>
                <a:gd name="connsiteX374" fmla="*/ 170121 w 344587"/>
                <a:gd name="connsiteY374" fmla="*/ 59447 h 344988"/>
                <a:gd name="connsiteX375" fmla="*/ 165282 w 344587"/>
                <a:gd name="connsiteY375" fmla="*/ 60150 h 344988"/>
                <a:gd name="connsiteX376" fmla="*/ 168781 w 344587"/>
                <a:gd name="connsiteY376" fmla="*/ 63530 h 344988"/>
                <a:gd name="connsiteX377" fmla="*/ 167961 w 344587"/>
                <a:gd name="connsiteY377" fmla="*/ 68316 h 344988"/>
                <a:gd name="connsiteX378" fmla="*/ 172307 w 344587"/>
                <a:gd name="connsiteY378" fmla="*/ 66045 h 344988"/>
                <a:gd name="connsiteX379" fmla="*/ 176627 w 344587"/>
                <a:gd name="connsiteY379" fmla="*/ 68316 h 344988"/>
                <a:gd name="connsiteX380" fmla="*/ 175806 w 344587"/>
                <a:gd name="connsiteY380" fmla="*/ 63530 h 344988"/>
                <a:gd name="connsiteX381" fmla="*/ 179306 w 344587"/>
                <a:gd name="connsiteY381" fmla="*/ 60150 h 344988"/>
                <a:gd name="connsiteX382" fmla="*/ 174467 w 344587"/>
                <a:gd name="connsiteY382" fmla="*/ 59447 h 344988"/>
                <a:gd name="connsiteX383" fmla="*/ 171615 w 344587"/>
                <a:gd name="connsiteY383" fmla="*/ 48293 h 344988"/>
                <a:gd name="connsiteX384" fmla="*/ 293719 w 344587"/>
                <a:gd name="connsiteY384" fmla="*/ 170398 h 344988"/>
                <a:gd name="connsiteX385" fmla="*/ 171615 w 344587"/>
                <a:gd name="connsiteY385" fmla="*/ 292503 h 344988"/>
                <a:gd name="connsiteX386" fmla="*/ 49510 w 344587"/>
                <a:gd name="connsiteY386" fmla="*/ 170398 h 344988"/>
                <a:gd name="connsiteX387" fmla="*/ 171615 w 344587"/>
                <a:gd name="connsiteY387" fmla="*/ 48293 h 344988"/>
                <a:gd name="connsiteX388" fmla="*/ 171615 w 344587"/>
                <a:gd name="connsiteY388" fmla="*/ 34348 h 344988"/>
                <a:gd name="connsiteX389" fmla="*/ 35565 w 344587"/>
                <a:gd name="connsiteY389" fmla="*/ 170398 h 344988"/>
                <a:gd name="connsiteX390" fmla="*/ 171615 w 344587"/>
                <a:gd name="connsiteY390" fmla="*/ 306448 h 344988"/>
                <a:gd name="connsiteX391" fmla="*/ 307665 w 344587"/>
                <a:gd name="connsiteY391" fmla="*/ 170398 h 344988"/>
                <a:gd name="connsiteX392" fmla="*/ 171615 w 344587"/>
                <a:gd name="connsiteY392" fmla="*/ 34348 h 344988"/>
                <a:gd name="connsiteX393" fmla="*/ 172307 w 344587"/>
                <a:gd name="connsiteY393" fmla="*/ 0 h 344988"/>
                <a:gd name="connsiteX394" fmla="*/ 212700 w 344587"/>
                <a:gd name="connsiteY394" fmla="*/ 21468 h 344988"/>
                <a:gd name="connsiteX395" fmla="*/ 258434 w 344587"/>
                <a:gd name="connsiteY395" fmla="*/ 23124 h 344988"/>
                <a:gd name="connsiteX396" fmla="*/ 282724 w 344587"/>
                <a:gd name="connsiteY396" fmla="*/ 61936 h 344988"/>
                <a:gd name="connsiteX397" fmla="*/ 321490 w 344587"/>
                <a:gd name="connsiteY397" fmla="*/ 86254 h 344988"/>
                <a:gd name="connsiteX398" fmla="*/ 323144 w 344587"/>
                <a:gd name="connsiteY398" fmla="*/ 132040 h 344988"/>
                <a:gd name="connsiteX399" fmla="*/ 344587 w 344587"/>
                <a:gd name="connsiteY399" fmla="*/ 172508 h 344988"/>
                <a:gd name="connsiteX400" fmla="*/ 323144 w 344587"/>
                <a:gd name="connsiteY400" fmla="*/ 212975 h 344988"/>
                <a:gd name="connsiteX401" fmla="*/ 321490 w 344587"/>
                <a:gd name="connsiteY401" fmla="*/ 258734 h 344988"/>
                <a:gd name="connsiteX402" fmla="*/ 282724 w 344587"/>
                <a:gd name="connsiteY402" fmla="*/ 283052 h 344988"/>
                <a:gd name="connsiteX403" fmla="*/ 258434 w 344587"/>
                <a:gd name="connsiteY403" fmla="*/ 321891 h 344988"/>
                <a:gd name="connsiteX404" fmla="*/ 212700 w 344587"/>
                <a:gd name="connsiteY404" fmla="*/ 323520 h 344988"/>
                <a:gd name="connsiteX405" fmla="*/ 172307 w 344587"/>
                <a:gd name="connsiteY405" fmla="*/ 344988 h 344988"/>
                <a:gd name="connsiteX406" fmla="*/ 131887 w 344587"/>
                <a:gd name="connsiteY406" fmla="*/ 323520 h 344988"/>
                <a:gd name="connsiteX407" fmla="*/ 86154 w 344587"/>
                <a:gd name="connsiteY407" fmla="*/ 321891 h 344988"/>
                <a:gd name="connsiteX408" fmla="*/ 61864 w 344587"/>
                <a:gd name="connsiteY408" fmla="*/ 283052 h 344988"/>
                <a:gd name="connsiteX409" fmla="*/ 23097 w 344587"/>
                <a:gd name="connsiteY409" fmla="*/ 258734 h 344988"/>
                <a:gd name="connsiteX410" fmla="*/ 21444 w 344587"/>
                <a:gd name="connsiteY410" fmla="*/ 212975 h 344988"/>
                <a:gd name="connsiteX411" fmla="*/ 0 w 344587"/>
                <a:gd name="connsiteY411" fmla="*/ 172508 h 344988"/>
                <a:gd name="connsiteX412" fmla="*/ 21444 w 344587"/>
                <a:gd name="connsiteY412" fmla="*/ 132040 h 344988"/>
                <a:gd name="connsiteX413" fmla="*/ 23097 w 344587"/>
                <a:gd name="connsiteY413" fmla="*/ 86254 h 344988"/>
                <a:gd name="connsiteX414" fmla="*/ 61864 w 344587"/>
                <a:gd name="connsiteY414" fmla="*/ 61936 h 344988"/>
                <a:gd name="connsiteX415" fmla="*/ 86154 w 344587"/>
                <a:gd name="connsiteY415" fmla="*/ 23124 h 344988"/>
                <a:gd name="connsiteX416" fmla="*/ 131887 w 344587"/>
                <a:gd name="connsiteY416" fmla="*/ 21468 h 344988"/>
                <a:gd name="connsiteX417" fmla="*/ 172307 w 344587"/>
                <a:gd name="connsiteY417" fmla="*/ 0 h 3449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</a:cxnLst>
              <a:rect l="l" t="t" r="r" b="b"/>
              <a:pathLst>
                <a:path w="344587" h="344988">
                  <a:moveTo>
                    <a:pt x="167961" y="276672"/>
                  </a:moveTo>
                  <a:lnTo>
                    <a:pt x="168781" y="281441"/>
                  </a:lnTo>
                  <a:lnTo>
                    <a:pt x="165282" y="284827"/>
                  </a:lnTo>
                  <a:lnTo>
                    <a:pt x="170121" y="285532"/>
                  </a:lnTo>
                  <a:lnTo>
                    <a:pt x="172307" y="289894"/>
                  </a:lnTo>
                  <a:lnTo>
                    <a:pt x="174467" y="285532"/>
                  </a:lnTo>
                  <a:lnTo>
                    <a:pt x="179306" y="284827"/>
                  </a:lnTo>
                  <a:lnTo>
                    <a:pt x="175806" y="281441"/>
                  </a:lnTo>
                  <a:lnTo>
                    <a:pt x="176627" y="276672"/>
                  </a:lnTo>
                  <a:lnTo>
                    <a:pt x="172307" y="278921"/>
                  </a:lnTo>
                  <a:close/>
                  <a:moveTo>
                    <a:pt x="194527" y="274468"/>
                  </a:moveTo>
                  <a:lnTo>
                    <a:pt x="190704" y="277391"/>
                  </a:lnTo>
                  <a:lnTo>
                    <a:pt x="186127" y="275943"/>
                  </a:lnTo>
                  <a:lnTo>
                    <a:pt x="187742" y="280475"/>
                  </a:lnTo>
                  <a:lnTo>
                    <a:pt x="184915" y="284363"/>
                  </a:lnTo>
                  <a:lnTo>
                    <a:pt x="189761" y="284229"/>
                  </a:lnTo>
                  <a:lnTo>
                    <a:pt x="192615" y="288091"/>
                  </a:lnTo>
                  <a:lnTo>
                    <a:pt x="193961" y="283479"/>
                  </a:lnTo>
                  <a:lnTo>
                    <a:pt x="198538" y="281977"/>
                  </a:lnTo>
                  <a:lnTo>
                    <a:pt x="194554" y="279268"/>
                  </a:lnTo>
                  <a:close/>
                  <a:moveTo>
                    <a:pt x="149919" y="274468"/>
                  </a:moveTo>
                  <a:lnTo>
                    <a:pt x="149892" y="279268"/>
                  </a:lnTo>
                  <a:lnTo>
                    <a:pt x="145849" y="281977"/>
                  </a:lnTo>
                  <a:lnTo>
                    <a:pt x="150493" y="283479"/>
                  </a:lnTo>
                  <a:lnTo>
                    <a:pt x="151859" y="288091"/>
                  </a:lnTo>
                  <a:lnTo>
                    <a:pt x="154755" y="284229"/>
                  </a:lnTo>
                  <a:lnTo>
                    <a:pt x="159672" y="284363"/>
                  </a:lnTo>
                  <a:lnTo>
                    <a:pt x="156804" y="280475"/>
                  </a:lnTo>
                  <a:lnTo>
                    <a:pt x="158443" y="275943"/>
                  </a:lnTo>
                  <a:lnTo>
                    <a:pt x="153798" y="277391"/>
                  </a:lnTo>
                  <a:close/>
                  <a:moveTo>
                    <a:pt x="211844" y="268858"/>
                  </a:moveTo>
                  <a:lnTo>
                    <a:pt x="208584" y="272467"/>
                  </a:lnTo>
                  <a:lnTo>
                    <a:pt x="203747" y="271811"/>
                  </a:lnTo>
                  <a:lnTo>
                    <a:pt x="206165" y="276075"/>
                  </a:lnTo>
                  <a:lnTo>
                    <a:pt x="204046" y="280504"/>
                  </a:lnTo>
                  <a:lnTo>
                    <a:pt x="208828" y="279492"/>
                  </a:lnTo>
                  <a:lnTo>
                    <a:pt x="212334" y="282882"/>
                  </a:lnTo>
                  <a:lnTo>
                    <a:pt x="212877" y="278016"/>
                  </a:lnTo>
                  <a:lnTo>
                    <a:pt x="217170" y="275693"/>
                  </a:lnTo>
                  <a:lnTo>
                    <a:pt x="212714" y="273670"/>
                  </a:lnTo>
                  <a:close/>
                  <a:moveTo>
                    <a:pt x="132663" y="268858"/>
                  </a:moveTo>
                  <a:lnTo>
                    <a:pt x="131807" y="273670"/>
                  </a:lnTo>
                  <a:lnTo>
                    <a:pt x="127417" y="275693"/>
                  </a:lnTo>
                  <a:lnTo>
                    <a:pt x="131646" y="278016"/>
                  </a:lnTo>
                  <a:lnTo>
                    <a:pt x="132182" y="282882"/>
                  </a:lnTo>
                  <a:lnTo>
                    <a:pt x="135635" y="279492"/>
                  </a:lnTo>
                  <a:lnTo>
                    <a:pt x="140345" y="280504"/>
                  </a:lnTo>
                  <a:lnTo>
                    <a:pt x="138258" y="276075"/>
                  </a:lnTo>
                  <a:lnTo>
                    <a:pt x="140640" y="271811"/>
                  </a:lnTo>
                  <a:lnTo>
                    <a:pt x="135875" y="272467"/>
                  </a:lnTo>
                  <a:close/>
                  <a:moveTo>
                    <a:pt x="228015" y="260644"/>
                  </a:moveTo>
                  <a:lnTo>
                    <a:pt x="225418" y="264769"/>
                  </a:lnTo>
                  <a:lnTo>
                    <a:pt x="220576" y="264959"/>
                  </a:lnTo>
                  <a:lnTo>
                    <a:pt x="223687" y="268704"/>
                  </a:lnTo>
                  <a:lnTo>
                    <a:pt x="222361" y="273372"/>
                  </a:lnTo>
                  <a:lnTo>
                    <a:pt x="226879" y="271581"/>
                  </a:lnTo>
                  <a:lnTo>
                    <a:pt x="230910" y="274268"/>
                  </a:lnTo>
                  <a:lnTo>
                    <a:pt x="230585" y="269410"/>
                  </a:lnTo>
                  <a:lnTo>
                    <a:pt x="234399" y="266398"/>
                  </a:lnTo>
                  <a:lnTo>
                    <a:pt x="229692" y="265204"/>
                  </a:lnTo>
                  <a:close/>
                  <a:moveTo>
                    <a:pt x="116572" y="260644"/>
                  </a:moveTo>
                  <a:lnTo>
                    <a:pt x="114895" y="265204"/>
                  </a:lnTo>
                  <a:lnTo>
                    <a:pt x="110188" y="266398"/>
                  </a:lnTo>
                  <a:lnTo>
                    <a:pt x="114002" y="269410"/>
                  </a:lnTo>
                  <a:lnTo>
                    <a:pt x="113678" y="274268"/>
                  </a:lnTo>
                  <a:lnTo>
                    <a:pt x="117708" y="271581"/>
                  </a:lnTo>
                  <a:lnTo>
                    <a:pt x="122226" y="273372"/>
                  </a:lnTo>
                  <a:lnTo>
                    <a:pt x="120900" y="268704"/>
                  </a:lnTo>
                  <a:lnTo>
                    <a:pt x="124011" y="264959"/>
                  </a:lnTo>
                  <a:lnTo>
                    <a:pt x="119169" y="264769"/>
                  </a:lnTo>
                  <a:close/>
                  <a:moveTo>
                    <a:pt x="242363" y="249625"/>
                  </a:moveTo>
                  <a:lnTo>
                    <a:pt x="240527" y="254100"/>
                  </a:lnTo>
                  <a:lnTo>
                    <a:pt x="235802" y="255124"/>
                  </a:lnTo>
                  <a:lnTo>
                    <a:pt x="239501" y="258251"/>
                  </a:lnTo>
                  <a:lnTo>
                    <a:pt x="239015" y="263048"/>
                  </a:lnTo>
                  <a:lnTo>
                    <a:pt x="243119" y="260515"/>
                  </a:lnTo>
                  <a:lnTo>
                    <a:pt x="247546" y="262455"/>
                  </a:lnTo>
                  <a:lnTo>
                    <a:pt x="246413" y="257766"/>
                  </a:lnTo>
                  <a:lnTo>
                    <a:pt x="249625" y="254154"/>
                  </a:lnTo>
                  <a:lnTo>
                    <a:pt x="244792" y="253776"/>
                  </a:lnTo>
                  <a:close/>
                  <a:moveTo>
                    <a:pt x="102024" y="249625"/>
                  </a:moveTo>
                  <a:lnTo>
                    <a:pt x="99594" y="253776"/>
                  </a:lnTo>
                  <a:lnTo>
                    <a:pt x="94762" y="254154"/>
                  </a:lnTo>
                  <a:lnTo>
                    <a:pt x="97975" y="257766"/>
                  </a:lnTo>
                  <a:lnTo>
                    <a:pt x="96841" y="262455"/>
                  </a:lnTo>
                  <a:lnTo>
                    <a:pt x="101268" y="260515"/>
                  </a:lnTo>
                  <a:lnTo>
                    <a:pt x="105372" y="263048"/>
                  </a:lnTo>
                  <a:lnTo>
                    <a:pt x="104886" y="258251"/>
                  </a:lnTo>
                  <a:lnTo>
                    <a:pt x="108585" y="255124"/>
                  </a:lnTo>
                  <a:lnTo>
                    <a:pt x="103860" y="254100"/>
                  </a:lnTo>
                  <a:close/>
                  <a:moveTo>
                    <a:pt x="254712" y="236203"/>
                  </a:moveTo>
                  <a:lnTo>
                    <a:pt x="253690" y="240928"/>
                  </a:lnTo>
                  <a:lnTo>
                    <a:pt x="249225" y="242764"/>
                  </a:lnTo>
                  <a:lnTo>
                    <a:pt x="253394" y="245220"/>
                  </a:lnTo>
                  <a:lnTo>
                    <a:pt x="253771" y="250026"/>
                  </a:lnTo>
                  <a:lnTo>
                    <a:pt x="257348" y="246813"/>
                  </a:lnTo>
                  <a:lnTo>
                    <a:pt x="262056" y="247974"/>
                  </a:lnTo>
                  <a:lnTo>
                    <a:pt x="260119" y="243520"/>
                  </a:lnTo>
                  <a:lnTo>
                    <a:pt x="262648" y="239416"/>
                  </a:lnTo>
                  <a:lnTo>
                    <a:pt x="257833" y="239902"/>
                  </a:lnTo>
                  <a:close/>
                  <a:moveTo>
                    <a:pt x="89793" y="236203"/>
                  </a:moveTo>
                  <a:lnTo>
                    <a:pt x="86626" y="239902"/>
                  </a:lnTo>
                  <a:lnTo>
                    <a:pt x="81739" y="239416"/>
                  </a:lnTo>
                  <a:lnTo>
                    <a:pt x="84333" y="243520"/>
                  </a:lnTo>
                  <a:lnTo>
                    <a:pt x="82340" y="247974"/>
                  </a:lnTo>
                  <a:lnTo>
                    <a:pt x="87118" y="246813"/>
                  </a:lnTo>
                  <a:lnTo>
                    <a:pt x="90749" y="250026"/>
                  </a:lnTo>
                  <a:lnTo>
                    <a:pt x="91131" y="245220"/>
                  </a:lnTo>
                  <a:lnTo>
                    <a:pt x="95363" y="242764"/>
                  </a:lnTo>
                  <a:lnTo>
                    <a:pt x="90831" y="240928"/>
                  </a:lnTo>
                  <a:close/>
                  <a:moveTo>
                    <a:pt x="264558" y="220977"/>
                  </a:moveTo>
                  <a:lnTo>
                    <a:pt x="264341" y="225819"/>
                  </a:lnTo>
                  <a:lnTo>
                    <a:pt x="260243" y="228416"/>
                  </a:lnTo>
                  <a:lnTo>
                    <a:pt x="264803" y="230093"/>
                  </a:lnTo>
                  <a:lnTo>
                    <a:pt x="265997" y="234800"/>
                  </a:lnTo>
                  <a:lnTo>
                    <a:pt x="269009" y="230986"/>
                  </a:lnTo>
                  <a:lnTo>
                    <a:pt x="273867" y="231311"/>
                  </a:lnTo>
                  <a:lnTo>
                    <a:pt x="271180" y="227280"/>
                  </a:lnTo>
                  <a:lnTo>
                    <a:pt x="272971" y="222762"/>
                  </a:lnTo>
                  <a:lnTo>
                    <a:pt x="268276" y="224088"/>
                  </a:lnTo>
                  <a:close/>
                  <a:moveTo>
                    <a:pt x="80029" y="220977"/>
                  </a:moveTo>
                  <a:lnTo>
                    <a:pt x="76311" y="224088"/>
                  </a:lnTo>
                  <a:lnTo>
                    <a:pt x="71616" y="222762"/>
                  </a:lnTo>
                  <a:lnTo>
                    <a:pt x="73407" y="227280"/>
                  </a:lnTo>
                  <a:lnTo>
                    <a:pt x="70721" y="231311"/>
                  </a:lnTo>
                  <a:lnTo>
                    <a:pt x="75578" y="230986"/>
                  </a:lnTo>
                  <a:lnTo>
                    <a:pt x="78590" y="234800"/>
                  </a:lnTo>
                  <a:lnTo>
                    <a:pt x="79785" y="230093"/>
                  </a:lnTo>
                  <a:lnTo>
                    <a:pt x="84344" y="228416"/>
                  </a:lnTo>
                  <a:lnTo>
                    <a:pt x="80246" y="225819"/>
                  </a:lnTo>
                  <a:close/>
                  <a:moveTo>
                    <a:pt x="271410" y="204148"/>
                  </a:moveTo>
                  <a:lnTo>
                    <a:pt x="272066" y="208985"/>
                  </a:lnTo>
                  <a:lnTo>
                    <a:pt x="268457" y="212245"/>
                  </a:lnTo>
                  <a:lnTo>
                    <a:pt x="273269" y="213115"/>
                  </a:lnTo>
                  <a:lnTo>
                    <a:pt x="275292" y="217571"/>
                  </a:lnTo>
                  <a:lnTo>
                    <a:pt x="277615" y="213278"/>
                  </a:lnTo>
                  <a:lnTo>
                    <a:pt x="282481" y="212734"/>
                  </a:lnTo>
                  <a:lnTo>
                    <a:pt x="279091" y="209229"/>
                  </a:lnTo>
                  <a:lnTo>
                    <a:pt x="280076" y="204447"/>
                  </a:lnTo>
                  <a:lnTo>
                    <a:pt x="275674" y="206566"/>
                  </a:lnTo>
                  <a:close/>
                  <a:moveTo>
                    <a:pt x="73019" y="204148"/>
                  </a:moveTo>
                  <a:lnTo>
                    <a:pt x="68816" y="206566"/>
                  </a:lnTo>
                  <a:lnTo>
                    <a:pt x="64477" y="204447"/>
                  </a:lnTo>
                  <a:lnTo>
                    <a:pt x="65447" y="209229"/>
                  </a:lnTo>
                  <a:lnTo>
                    <a:pt x="62106" y="212734"/>
                  </a:lnTo>
                  <a:lnTo>
                    <a:pt x="66903" y="213278"/>
                  </a:lnTo>
                  <a:lnTo>
                    <a:pt x="69193" y="217571"/>
                  </a:lnTo>
                  <a:lnTo>
                    <a:pt x="71187" y="213115"/>
                  </a:lnTo>
                  <a:lnTo>
                    <a:pt x="75929" y="212245"/>
                  </a:lnTo>
                  <a:lnTo>
                    <a:pt x="72373" y="208985"/>
                  </a:lnTo>
                  <a:close/>
                  <a:moveTo>
                    <a:pt x="283915" y="185116"/>
                  </a:moveTo>
                  <a:lnTo>
                    <a:pt x="279950" y="187963"/>
                  </a:lnTo>
                  <a:lnTo>
                    <a:pt x="275388" y="186320"/>
                  </a:lnTo>
                  <a:lnTo>
                    <a:pt x="276854" y="191001"/>
                  </a:lnTo>
                  <a:lnTo>
                    <a:pt x="273867" y="194861"/>
                  </a:lnTo>
                  <a:lnTo>
                    <a:pt x="278755" y="194888"/>
                  </a:lnTo>
                  <a:lnTo>
                    <a:pt x="281498" y="198939"/>
                  </a:lnTo>
                  <a:lnTo>
                    <a:pt x="283019" y="194286"/>
                  </a:lnTo>
                  <a:lnTo>
                    <a:pt x="287690" y="192917"/>
                  </a:lnTo>
                  <a:lnTo>
                    <a:pt x="283780" y="190015"/>
                  </a:lnTo>
                  <a:close/>
                  <a:moveTo>
                    <a:pt x="60472" y="185116"/>
                  </a:moveTo>
                  <a:lnTo>
                    <a:pt x="60608" y="190015"/>
                  </a:lnTo>
                  <a:lnTo>
                    <a:pt x="56697" y="192917"/>
                  </a:lnTo>
                  <a:lnTo>
                    <a:pt x="61368" y="194286"/>
                  </a:lnTo>
                  <a:lnTo>
                    <a:pt x="62889" y="198939"/>
                  </a:lnTo>
                  <a:lnTo>
                    <a:pt x="65632" y="194888"/>
                  </a:lnTo>
                  <a:lnTo>
                    <a:pt x="70520" y="194861"/>
                  </a:lnTo>
                  <a:lnTo>
                    <a:pt x="67533" y="191001"/>
                  </a:lnTo>
                  <a:lnTo>
                    <a:pt x="68999" y="186320"/>
                  </a:lnTo>
                  <a:lnTo>
                    <a:pt x="64437" y="187963"/>
                  </a:lnTo>
                  <a:close/>
                  <a:moveTo>
                    <a:pt x="284437" y="165482"/>
                  </a:moveTo>
                  <a:lnTo>
                    <a:pt x="281057" y="168981"/>
                  </a:lnTo>
                  <a:lnTo>
                    <a:pt x="276271" y="168161"/>
                  </a:lnTo>
                  <a:lnTo>
                    <a:pt x="278542" y="172508"/>
                  </a:lnTo>
                  <a:lnTo>
                    <a:pt x="276271" y="176827"/>
                  </a:lnTo>
                  <a:lnTo>
                    <a:pt x="281057" y="176007"/>
                  </a:lnTo>
                  <a:lnTo>
                    <a:pt x="284437" y="179506"/>
                  </a:lnTo>
                  <a:lnTo>
                    <a:pt x="285140" y="174667"/>
                  </a:lnTo>
                  <a:lnTo>
                    <a:pt x="289493" y="172508"/>
                  </a:lnTo>
                  <a:lnTo>
                    <a:pt x="285140" y="170321"/>
                  </a:lnTo>
                  <a:close/>
                  <a:moveTo>
                    <a:pt x="60027" y="165482"/>
                  </a:moveTo>
                  <a:lnTo>
                    <a:pt x="59313" y="170321"/>
                  </a:lnTo>
                  <a:lnTo>
                    <a:pt x="54894" y="172508"/>
                  </a:lnTo>
                  <a:lnTo>
                    <a:pt x="59313" y="174667"/>
                  </a:lnTo>
                  <a:lnTo>
                    <a:pt x="60027" y="179506"/>
                  </a:lnTo>
                  <a:lnTo>
                    <a:pt x="63458" y="176007"/>
                  </a:lnTo>
                  <a:lnTo>
                    <a:pt x="68317" y="176827"/>
                  </a:lnTo>
                  <a:lnTo>
                    <a:pt x="66011" y="172508"/>
                  </a:lnTo>
                  <a:lnTo>
                    <a:pt x="68317" y="168161"/>
                  </a:lnTo>
                  <a:lnTo>
                    <a:pt x="63458" y="168981"/>
                  </a:lnTo>
                  <a:close/>
                  <a:moveTo>
                    <a:pt x="281498" y="146049"/>
                  </a:moveTo>
                  <a:lnTo>
                    <a:pt x="278755" y="150092"/>
                  </a:lnTo>
                  <a:lnTo>
                    <a:pt x="273867" y="150120"/>
                  </a:lnTo>
                  <a:lnTo>
                    <a:pt x="276854" y="153999"/>
                  </a:lnTo>
                  <a:lnTo>
                    <a:pt x="275388" y="158670"/>
                  </a:lnTo>
                  <a:lnTo>
                    <a:pt x="279950" y="157004"/>
                  </a:lnTo>
                  <a:lnTo>
                    <a:pt x="283915" y="159872"/>
                  </a:lnTo>
                  <a:lnTo>
                    <a:pt x="283780" y="154955"/>
                  </a:lnTo>
                  <a:lnTo>
                    <a:pt x="287690" y="152059"/>
                  </a:lnTo>
                  <a:lnTo>
                    <a:pt x="283019" y="150693"/>
                  </a:lnTo>
                  <a:close/>
                  <a:moveTo>
                    <a:pt x="62889" y="146049"/>
                  </a:moveTo>
                  <a:lnTo>
                    <a:pt x="61368" y="150693"/>
                  </a:lnTo>
                  <a:lnTo>
                    <a:pt x="56697" y="152059"/>
                  </a:lnTo>
                  <a:lnTo>
                    <a:pt x="60608" y="154955"/>
                  </a:lnTo>
                  <a:lnTo>
                    <a:pt x="60472" y="159872"/>
                  </a:lnTo>
                  <a:lnTo>
                    <a:pt x="64437" y="157004"/>
                  </a:lnTo>
                  <a:lnTo>
                    <a:pt x="68999" y="158670"/>
                  </a:lnTo>
                  <a:lnTo>
                    <a:pt x="67533" y="153999"/>
                  </a:lnTo>
                  <a:lnTo>
                    <a:pt x="70520" y="150120"/>
                  </a:lnTo>
                  <a:lnTo>
                    <a:pt x="65632" y="150092"/>
                  </a:lnTo>
                  <a:close/>
                  <a:moveTo>
                    <a:pt x="275292" y="127618"/>
                  </a:moveTo>
                  <a:lnTo>
                    <a:pt x="273269" y="132007"/>
                  </a:lnTo>
                  <a:lnTo>
                    <a:pt x="268457" y="132864"/>
                  </a:lnTo>
                  <a:lnTo>
                    <a:pt x="272066" y="136103"/>
                  </a:lnTo>
                  <a:lnTo>
                    <a:pt x="271410" y="140840"/>
                  </a:lnTo>
                  <a:lnTo>
                    <a:pt x="275674" y="138458"/>
                  </a:lnTo>
                  <a:lnTo>
                    <a:pt x="280076" y="140546"/>
                  </a:lnTo>
                  <a:lnTo>
                    <a:pt x="279091" y="135862"/>
                  </a:lnTo>
                  <a:lnTo>
                    <a:pt x="282481" y="132382"/>
                  </a:lnTo>
                  <a:lnTo>
                    <a:pt x="277615" y="131847"/>
                  </a:lnTo>
                  <a:close/>
                  <a:moveTo>
                    <a:pt x="69193" y="127618"/>
                  </a:moveTo>
                  <a:lnTo>
                    <a:pt x="66903" y="131847"/>
                  </a:lnTo>
                  <a:lnTo>
                    <a:pt x="62106" y="132382"/>
                  </a:lnTo>
                  <a:lnTo>
                    <a:pt x="65447" y="135862"/>
                  </a:lnTo>
                  <a:lnTo>
                    <a:pt x="64477" y="140546"/>
                  </a:lnTo>
                  <a:lnTo>
                    <a:pt x="68816" y="138458"/>
                  </a:lnTo>
                  <a:lnTo>
                    <a:pt x="73019" y="140840"/>
                  </a:lnTo>
                  <a:lnTo>
                    <a:pt x="72373" y="136103"/>
                  </a:lnTo>
                  <a:lnTo>
                    <a:pt x="75929" y="132864"/>
                  </a:lnTo>
                  <a:lnTo>
                    <a:pt x="71187" y="132007"/>
                  </a:lnTo>
                  <a:close/>
                  <a:moveTo>
                    <a:pt x="265997" y="110188"/>
                  </a:moveTo>
                  <a:lnTo>
                    <a:pt x="264803" y="114963"/>
                  </a:lnTo>
                  <a:lnTo>
                    <a:pt x="260243" y="116665"/>
                  </a:lnTo>
                  <a:lnTo>
                    <a:pt x="264341" y="119299"/>
                  </a:lnTo>
                  <a:lnTo>
                    <a:pt x="264558" y="124212"/>
                  </a:lnTo>
                  <a:lnTo>
                    <a:pt x="268276" y="121083"/>
                  </a:lnTo>
                  <a:lnTo>
                    <a:pt x="272971" y="122401"/>
                  </a:lnTo>
                  <a:lnTo>
                    <a:pt x="271180" y="117845"/>
                  </a:lnTo>
                  <a:lnTo>
                    <a:pt x="273867" y="113756"/>
                  </a:lnTo>
                  <a:lnTo>
                    <a:pt x="269009" y="114057"/>
                  </a:lnTo>
                  <a:close/>
                  <a:moveTo>
                    <a:pt x="78590" y="110188"/>
                  </a:moveTo>
                  <a:lnTo>
                    <a:pt x="75578" y="114057"/>
                  </a:lnTo>
                  <a:lnTo>
                    <a:pt x="70721" y="113756"/>
                  </a:lnTo>
                  <a:lnTo>
                    <a:pt x="73407" y="117845"/>
                  </a:lnTo>
                  <a:lnTo>
                    <a:pt x="71616" y="122401"/>
                  </a:lnTo>
                  <a:lnTo>
                    <a:pt x="76311" y="121083"/>
                  </a:lnTo>
                  <a:lnTo>
                    <a:pt x="80029" y="124212"/>
                  </a:lnTo>
                  <a:lnTo>
                    <a:pt x="80246" y="119299"/>
                  </a:lnTo>
                  <a:lnTo>
                    <a:pt x="84344" y="116665"/>
                  </a:lnTo>
                  <a:lnTo>
                    <a:pt x="79785" y="114963"/>
                  </a:lnTo>
                  <a:close/>
                  <a:moveTo>
                    <a:pt x="172293" y="107507"/>
                  </a:moveTo>
                  <a:cubicBezTo>
                    <a:pt x="169195" y="107507"/>
                    <a:pt x="166097" y="109253"/>
                    <a:pt x="164742" y="112163"/>
                  </a:cubicBezTo>
                  <a:lnTo>
                    <a:pt x="148477" y="145335"/>
                  </a:lnTo>
                  <a:lnTo>
                    <a:pt x="111881" y="150766"/>
                  </a:lnTo>
                  <a:cubicBezTo>
                    <a:pt x="108589" y="151154"/>
                    <a:pt x="106072" y="153482"/>
                    <a:pt x="104910" y="156392"/>
                  </a:cubicBezTo>
                  <a:cubicBezTo>
                    <a:pt x="103942" y="159496"/>
                    <a:pt x="104910" y="162988"/>
                    <a:pt x="107234" y="165121"/>
                  </a:cubicBezTo>
                  <a:lnTo>
                    <a:pt x="133567" y="190922"/>
                  </a:lnTo>
                  <a:lnTo>
                    <a:pt x="127371" y="227392"/>
                  </a:lnTo>
                  <a:cubicBezTo>
                    <a:pt x="126790" y="230689"/>
                    <a:pt x="128146" y="233987"/>
                    <a:pt x="130663" y="235733"/>
                  </a:cubicBezTo>
                  <a:cubicBezTo>
                    <a:pt x="132212" y="236897"/>
                    <a:pt x="133955" y="237479"/>
                    <a:pt x="135697" y="237479"/>
                  </a:cubicBezTo>
                  <a:cubicBezTo>
                    <a:pt x="137053" y="237479"/>
                    <a:pt x="138408" y="237091"/>
                    <a:pt x="139570" y="236509"/>
                  </a:cubicBezTo>
                  <a:lnTo>
                    <a:pt x="172293" y="219244"/>
                  </a:lnTo>
                  <a:lnTo>
                    <a:pt x="205016" y="236509"/>
                  </a:lnTo>
                  <a:cubicBezTo>
                    <a:pt x="206372" y="237091"/>
                    <a:pt x="207727" y="237479"/>
                    <a:pt x="209083" y="237479"/>
                  </a:cubicBezTo>
                  <a:cubicBezTo>
                    <a:pt x="210825" y="237479"/>
                    <a:pt x="212568" y="236897"/>
                    <a:pt x="213923" y="235733"/>
                  </a:cubicBezTo>
                  <a:cubicBezTo>
                    <a:pt x="216634" y="233987"/>
                    <a:pt x="217990" y="230689"/>
                    <a:pt x="217409" y="227392"/>
                  </a:cubicBezTo>
                  <a:lnTo>
                    <a:pt x="211213" y="190922"/>
                  </a:lnTo>
                  <a:lnTo>
                    <a:pt x="237546" y="165121"/>
                  </a:lnTo>
                  <a:cubicBezTo>
                    <a:pt x="239870" y="162988"/>
                    <a:pt x="240644" y="159496"/>
                    <a:pt x="239676" y="156392"/>
                  </a:cubicBezTo>
                  <a:cubicBezTo>
                    <a:pt x="238708" y="153482"/>
                    <a:pt x="235997" y="151154"/>
                    <a:pt x="232899" y="150766"/>
                  </a:cubicBezTo>
                  <a:lnTo>
                    <a:pt x="196303" y="145335"/>
                  </a:lnTo>
                  <a:lnTo>
                    <a:pt x="180038" y="112163"/>
                  </a:lnTo>
                  <a:cubicBezTo>
                    <a:pt x="178489" y="109253"/>
                    <a:pt x="175585" y="107507"/>
                    <a:pt x="172293" y="107507"/>
                  </a:cubicBezTo>
                  <a:close/>
                  <a:moveTo>
                    <a:pt x="253771" y="94962"/>
                  </a:moveTo>
                  <a:lnTo>
                    <a:pt x="253394" y="99795"/>
                  </a:lnTo>
                  <a:lnTo>
                    <a:pt x="249225" y="102225"/>
                  </a:lnTo>
                  <a:lnTo>
                    <a:pt x="253690" y="104061"/>
                  </a:lnTo>
                  <a:lnTo>
                    <a:pt x="254712" y="108785"/>
                  </a:lnTo>
                  <a:lnTo>
                    <a:pt x="257833" y="105114"/>
                  </a:lnTo>
                  <a:lnTo>
                    <a:pt x="262648" y="105573"/>
                  </a:lnTo>
                  <a:lnTo>
                    <a:pt x="260119" y="101469"/>
                  </a:lnTo>
                  <a:lnTo>
                    <a:pt x="262056" y="97041"/>
                  </a:lnTo>
                  <a:lnTo>
                    <a:pt x="257348" y="98175"/>
                  </a:lnTo>
                  <a:close/>
                  <a:moveTo>
                    <a:pt x="90749" y="94962"/>
                  </a:moveTo>
                  <a:lnTo>
                    <a:pt x="87118" y="98175"/>
                  </a:lnTo>
                  <a:lnTo>
                    <a:pt x="82340" y="97041"/>
                  </a:lnTo>
                  <a:lnTo>
                    <a:pt x="84333" y="101469"/>
                  </a:lnTo>
                  <a:lnTo>
                    <a:pt x="81739" y="105573"/>
                  </a:lnTo>
                  <a:lnTo>
                    <a:pt x="86626" y="105114"/>
                  </a:lnTo>
                  <a:lnTo>
                    <a:pt x="89793" y="108785"/>
                  </a:lnTo>
                  <a:lnTo>
                    <a:pt x="90831" y="104061"/>
                  </a:lnTo>
                  <a:lnTo>
                    <a:pt x="95363" y="102225"/>
                  </a:lnTo>
                  <a:lnTo>
                    <a:pt x="91131" y="99795"/>
                  </a:lnTo>
                  <a:close/>
                  <a:moveTo>
                    <a:pt x="239015" y="81940"/>
                  </a:moveTo>
                  <a:lnTo>
                    <a:pt x="239501" y="86827"/>
                  </a:lnTo>
                  <a:lnTo>
                    <a:pt x="235802" y="89993"/>
                  </a:lnTo>
                  <a:lnTo>
                    <a:pt x="240527" y="91031"/>
                  </a:lnTo>
                  <a:lnTo>
                    <a:pt x="242363" y="95563"/>
                  </a:lnTo>
                  <a:lnTo>
                    <a:pt x="244792" y="91331"/>
                  </a:lnTo>
                  <a:lnTo>
                    <a:pt x="249625" y="90976"/>
                  </a:lnTo>
                  <a:lnTo>
                    <a:pt x="246413" y="87318"/>
                  </a:lnTo>
                  <a:lnTo>
                    <a:pt x="247546" y="82568"/>
                  </a:lnTo>
                  <a:lnTo>
                    <a:pt x="243119" y="84533"/>
                  </a:lnTo>
                  <a:close/>
                  <a:moveTo>
                    <a:pt x="105372" y="81940"/>
                  </a:moveTo>
                  <a:lnTo>
                    <a:pt x="101268" y="84533"/>
                  </a:lnTo>
                  <a:lnTo>
                    <a:pt x="96841" y="82568"/>
                  </a:lnTo>
                  <a:lnTo>
                    <a:pt x="97975" y="87318"/>
                  </a:lnTo>
                  <a:lnTo>
                    <a:pt x="94762" y="90976"/>
                  </a:lnTo>
                  <a:lnTo>
                    <a:pt x="99594" y="91331"/>
                  </a:lnTo>
                  <a:lnTo>
                    <a:pt x="102024" y="95563"/>
                  </a:lnTo>
                  <a:lnTo>
                    <a:pt x="103860" y="91031"/>
                  </a:lnTo>
                  <a:lnTo>
                    <a:pt x="108585" y="89993"/>
                  </a:lnTo>
                  <a:lnTo>
                    <a:pt x="104886" y="86827"/>
                  </a:lnTo>
                  <a:close/>
                  <a:moveTo>
                    <a:pt x="230910" y="70720"/>
                  </a:moveTo>
                  <a:lnTo>
                    <a:pt x="226879" y="73474"/>
                  </a:lnTo>
                  <a:lnTo>
                    <a:pt x="222361" y="71629"/>
                  </a:lnTo>
                  <a:lnTo>
                    <a:pt x="223687" y="76393"/>
                  </a:lnTo>
                  <a:lnTo>
                    <a:pt x="220576" y="80193"/>
                  </a:lnTo>
                  <a:lnTo>
                    <a:pt x="225418" y="80386"/>
                  </a:lnTo>
                  <a:lnTo>
                    <a:pt x="228015" y="84544"/>
                  </a:lnTo>
                  <a:lnTo>
                    <a:pt x="229692" y="79918"/>
                  </a:lnTo>
                  <a:lnTo>
                    <a:pt x="234399" y="78706"/>
                  </a:lnTo>
                  <a:lnTo>
                    <a:pt x="230585" y="75650"/>
                  </a:lnTo>
                  <a:close/>
                  <a:moveTo>
                    <a:pt x="113678" y="70720"/>
                  </a:moveTo>
                  <a:lnTo>
                    <a:pt x="114002" y="75650"/>
                  </a:lnTo>
                  <a:lnTo>
                    <a:pt x="110188" y="78706"/>
                  </a:lnTo>
                  <a:lnTo>
                    <a:pt x="114895" y="79918"/>
                  </a:lnTo>
                  <a:lnTo>
                    <a:pt x="116572" y="84544"/>
                  </a:lnTo>
                  <a:lnTo>
                    <a:pt x="119169" y="80386"/>
                  </a:lnTo>
                  <a:lnTo>
                    <a:pt x="124011" y="80193"/>
                  </a:lnTo>
                  <a:lnTo>
                    <a:pt x="120900" y="76393"/>
                  </a:lnTo>
                  <a:lnTo>
                    <a:pt x="122226" y="71629"/>
                  </a:lnTo>
                  <a:lnTo>
                    <a:pt x="117708" y="73474"/>
                  </a:lnTo>
                  <a:close/>
                  <a:moveTo>
                    <a:pt x="212334" y="62106"/>
                  </a:moveTo>
                  <a:lnTo>
                    <a:pt x="208828" y="65489"/>
                  </a:lnTo>
                  <a:lnTo>
                    <a:pt x="204046" y="64507"/>
                  </a:lnTo>
                  <a:lnTo>
                    <a:pt x="206165" y="68900"/>
                  </a:lnTo>
                  <a:lnTo>
                    <a:pt x="203747" y="73156"/>
                  </a:lnTo>
                  <a:lnTo>
                    <a:pt x="208584" y="72501"/>
                  </a:lnTo>
                  <a:lnTo>
                    <a:pt x="211844" y="76130"/>
                  </a:lnTo>
                  <a:lnTo>
                    <a:pt x="212714" y="71301"/>
                  </a:lnTo>
                  <a:lnTo>
                    <a:pt x="217170" y="69282"/>
                  </a:lnTo>
                  <a:lnTo>
                    <a:pt x="212877" y="66962"/>
                  </a:lnTo>
                  <a:close/>
                  <a:moveTo>
                    <a:pt x="132182" y="62106"/>
                  </a:moveTo>
                  <a:lnTo>
                    <a:pt x="131646" y="66962"/>
                  </a:lnTo>
                  <a:lnTo>
                    <a:pt x="127417" y="69282"/>
                  </a:lnTo>
                  <a:lnTo>
                    <a:pt x="131807" y="71301"/>
                  </a:lnTo>
                  <a:lnTo>
                    <a:pt x="132663" y="76130"/>
                  </a:lnTo>
                  <a:lnTo>
                    <a:pt x="135875" y="72501"/>
                  </a:lnTo>
                  <a:lnTo>
                    <a:pt x="140640" y="73156"/>
                  </a:lnTo>
                  <a:lnTo>
                    <a:pt x="138258" y="68900"/>
                  </a:lnTo>
                  <a:lnTo>
                    <a:pt x="140345" y="64507"/>
                  </a:lnTo>
                  <a:lnTo>
                    <a:pt x="135635" y="65489"/>
                  </a:lnTo>
                  <a:close/>
                  <a:moveTo>
                    <a:pt x="192615" y="56897"/>
                  </a:moveTo>
                  <a:lnTo>
                    <a:pt x="189761" y="60835"/>
                  </a:lnTo>
                  <a:lnTo>
                    <a:pt x="184915" y="60672"/>
                  </a:lnTo>
                  <a:lnTo>
                    <a:pt x="187742" y="64637"/>
                  </a:lnTo>
                  <a:lnTo>
                    <a:pt x="186127" y="69227"/>
                  </a:lnTo>
                  <a:lnTo>
                    <a:pt x="190704" y="67733"/>
                  </a:lnTo>
                  <a:lnTo>
                    <a:pt x="194527" y="70720"/>
                  </a:lnTo>
                  <a:lnTo>
                    <a:pt x="194554" y="65832"/>
                  </a:lnTo>
                  <a:lnTo>
                    <a:pt x="198538" y="63089"/>
                  </a:lnTo>
                  <a:lnTo>
                    <a:pt x="193961" y="61568"/>
                  </a:lnTo>
                  <a:close/>
                  <a:moveTo>
                    <a:pt x="151859" y="56897"/>
                  </a:moveTo>
                  <a:lnTo>
                    <a:pt x="150493" y="61568"/>
                  </a:lnTo>
                  <a:lnTo>
                    <a:pt x="145849" y="63089"/>
                  </a:lnTo>
                  <a:lnTo>
                    <a:pt x="149892" y="65832"/>
                  </a:lnTo>
                  <a:lnTo>
                    <a:pt x="149919" y="70720"/>
                  </a:lnTo>
                  <a:lnTo>
                    <a:pt x="153798" y="67733"/>
                  </a:lnTo>
                  <a:lnTo>
                    <a:pt x="158443" y="69227"/>
                  </a:lnTo>
                  <a:lnTo>
                    <a:pt x="156804" y="64637"/>
                  </a:lnTo>
                  <a:lnTo>
                    <a:pt x="159672" y="60672"/>
                  </a:lnTo>
                  <a:lnTo>
                    <a:pt x="154755" y="60835"/>
                  </a:lnTo>
                  <a:close/>
                  <a:moveTo>
                    <a:pt x="172307" y="55094"/>
                  </a:moveTo>
                  <a:lnTo>
                    <a:pt x="170121" y="59447"/>
                  </a:lnTo>
                  <a:lnTo>
                    <a:pt x="165282" y="60150"/>
                  </a:lnTo>
                  <a:lnTo>
                    <a:pt x="168781" y="63530"/>
                  </a:lnTo>
                  <a:lnTo>
                    <a:pt x="167961" y="68316"/>
                  </a:lnTo>
                  <a:lnTo>
                    <a:pt x="172307" y="66045"/>
                  </a:lnTo>
                  <a:lnTo>
                    <a:pt x="176627" y="68316"/>
                  </a:lnTo>
                  <a:lnTo>
                    <a:pt x="175806" y="63530"/>
                  </a:lnTo>
                  <a:lnTo>
                    <a:pt x="179306" y="60150"/>
                  </a:lnTo>
                  <a:lnTo>
                    <a:pt x="174467" y="59447"/>
                  </a:lnTo>
                  <a:close/>
                  <a:moveTo>
                    <a:pt x="171615" y="48293"/>
                  </a:moveTo>
                  <a:cubicBezTo>
                    <a:pt x="239051" y="48293"/>
                    <a:pt x="293719" y="102961"/>
                    <a:pt x="293719" y="170398"/>
                  </a:cubicBezTo>
                  <a:cubicBezTo>
                    <a:pt x="293719" y="237834"/>
                    <a:pt x="239051" y="292503"/>
                    <a:pt x="171615" y="292503"/>
                  </a:cubicBezTo>
                  <a:cubicBezTo>
                    <a:pt x="104179" y="292503"/>
                    <a:pt x="49510" y="237834"/>
                    <a:pt x="49510" y="170398"/>
                  </a:cubicBezTo>
                  <a:cubicBezTo>
                    <a:pt x="49510" y="102961"/>
                    <a:pt x="104179" y="48293"/>
                    <a:pt x="171615" y="48293"/>
                  </a:cubicBezTo>
                  <a:close/>
                  <a:moveTo>
                    <a:pt x="171615" y="34348"/>
                  </a:moveTo>
                  <a:cubicBezTo>
                    <a:pt x="96477" y="34348"/>
                    <a:pt x="35565" y="95260"/>
                    <a:pt x="35565" y="170398"/>
                  </a:cubicBezTo>
                  <a:cubicBezTo>
                    <a:pt x="35565" y="245536"/>
                    <a:pt x="96477" y="306448"/>
                    <a:pt x="171615" y="306448"/>
                  </a:cubicBezTo>
                  <a:cubicBezTo>
                    <a:pt x="246753" y="306448"/>
                    <a:pt x="307665" y="245536"/>
                    <a:pt x="307665" y="170398"/>
                  </a:cubicBezTo>
                  <a:cubicBezTo>
                    <a:pt x="307665" y="95260"/>
                    <a:pt x="246753" y="34348"/>
                    <a:pt x="171615" y="34348"/>
                  </a:cubicBezTo>
                  <a:close/>
                  <a:moveTo>
                    <a:pt x="172307" y="0"/>
                  </a:moveTo>
                  <a:cubicBezTo>
                    <a:pt x="186784" y="0"/>
                    <a:pt x="198956" y="17777"/>
                    <a:pt x="212700" y="21468"/>
                  </a:cubicBezTo>
                  <a:cubicBezTo>
                    <a:pt x="226580" y="25187"/>
                    <a:pt x="246018" y="15932"/>
                    <a:pt x="258434" y="23124"/>
                  </a:cubicBezTo>
                  <a:cubicBezTo>
                    <a:pt x="270768" y="30235"/>
                    <a:pt x="272476" y="51703"/>
                    <a:pt x="282724" y="61936"/>
                  </a:cubicBezTo>
                  <a:cubicBezTo>
                    <a:pt x="292944" y="72195"/>
                    <a:pt x="314387" y="73905"/>
                    <a:pt x="321490" y="86254"/>
                  </a:cubicBezTo>
                  <a:cubicBezTo>
                    <a:pt x="328674" y="98684"/>
                    <a:pt x="319430" y="118144"/>
                    <a:pt x="323144" y="132040"/>
                  </a:cubicBezTo>
                  <a:cubicBezTo>
                    <a:pt x="326831" y="145801"/>
                    <a:pt x="344587" y="158014"/>
                    <a:pt x="344587" y="172508"/>
                  </a:cubicBezTo>
                  <a:cubicBezTo>
                    <a:pt x="344587" y="187001"/>
                    <a:pt x="326831" y="199214"/>
                    <a:pt x="323144" y="212975"/>
                  </a:cubicBezTo>
                  <a:cubicBezTo>
                    <a:pt x="319430" y="226844"/>
                    <a:pt x="328674" y="246304"/>
                    <a:pt x="321490" y="258734"/>
                  </a:cubicBezTo>
                  <a:cubicBezTo>
                    <a:pt x="314387" y="271083"/>
                    <a:pt x="292944" y="272793"/>
                    <a:pt x="282724" y="283052"/>
                  </a:cubicBezTo>
                  <a:cubicBezTo>
                    <a:pt x="272476" y="293312"/>
                    <a:pt x="270768" y="314753"/>
                    <a:pt x="258434" y="321891"/>
                  </a:cubicBezTo>
                  <a:cubicBezTo>
                    <a:pt x="246018" y="329056"/>
                    <a:pt x="226580" y="319801"/>
                    <a:pt x="212700" y="323520"/>
                  </a:cubicBezTo>
                  <a:cubicBezTo>
                    <a:pt x="198956" y="327211"/>
                    <a:pt x="186784" y="344988"/>
                    <a:pt x="172307" y="344988"/>
                  </a:cubicBezTo>
                  <a:cubicBezTo>
                    <a:pt x="157804" y="344988"/>
                    <a:pt x="145632" y="327211"/>
                    <a:pt x="131887" y="323520"/>
                  </a:cubicBezTo>
                  <a:cubicBezTo>
                    <a:pt x="118007" y="319801"/>
                    <a:pt x="98570" y="329056"/>
                    <a:pt x="86154" y="321891"/>
                  </a:cubicBezTo>
                  <a:cubicBezTo>
                    <a:pt x="73819" y="314753"/>
                    <a:pt x="72111" y="293312"/>
                    <a:pt x="61864" y="283052"/>
                  </a:cubicBezTo>
                  <a:cubicBezTo>
                    <a:pt x="51644" y="272793"/>
                    <a:pt x="30200" y="271083"/>
                    <a:pt x="23097" y="258734"/>
                  </a:cubicBezTo>
                  <a:cubicBezTo>
                    <a:pt x="15913" y="246304"/>
                    <a:pt x="25158" y="226844"/>
                    <a:pt x="21444" y="212975"/>
                  </a:cubicBezTo>
                  <a:cubicBezTo>
                    <a:pt x="17757" y="199214"/>
                    <a:pt x="0" y="187001"/>
                    <a:pt x="0" y="172508"/>
                  </a:cubicBezTo>
                  <a:cubicBezTo>
                    <a:pt x="0" y="158014"/>
                    <a:pt x="17757" y="145801"/>
                    <a:pt x="21444" y="132040"/>
                  </a:cubicBezTo>
                  <a:cubicBezTo>
                    <a:pt x="25158" y="118144"/>
                    <a:pt x="15913" y="98684"/>
                    <a:pt x="23097" y="86254"/>
                  </a:cubicBezTo>
                  <a:cubicBezTo>
                    <a:pt x="30200" y="73905"/>
                    <a:pt x="51644" y="72195"/>
                    <a:pt x="61864" y="61936"/>
                  </a:cubicBezTo>
                  <a:cubicBezTo>
                    <a:pt x="72111" y="51703"/>
                    <a:pt x="73819" y="30235"/>
                    <a:pt x="86154" y="23124"/>
                  </a:cubicBezTo>
                  <a:cubicBezTo>
                    <a:pt x="98570" y="15932"/>
                    <a:pt x="118007" y="25187"/>
                    <a:pt x="131887" y="21468"/>
                  </a:cubicBezTo>
                  <a:cubicBezTo>
                    <a:pt x="145632" y="17777"/>
                    <a:pt x="157804" y="0"/>
                    <a:pt x="172307" y="0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" name="Freeform 352">
              <a:extLst>
                <a:ext uri="{FF2B5EF4-FFF2-40B4-BE49-F238E27FC236}">
                  <a16:creationId xmlns:a16="http://schemas.microsoft.com/office/drawing/2014/main" id="{02E74E3F-674C-468C-B05E-B8BF34A8AB86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6243" y="443760"/>
              <a:ext cx="145448" cy="207954"/>
            </a:xfrm>
            <a:custGeom>
              <a:avLst/>
              <a:gdLst>
                <a:gd name="T0" fmla="*/ 3234 w 5365"/>
                <a:gd name="T1" fmla="*/ 384 h 7662"/>
                <a:gd name="T2" fmla="*/ 1547 w 5365"/>
                <a:gd name="T3" fmla="*/ 444 h 7662"/>
                <a:gd name="T4" fmla="*/ 57 w 5365"/>
                <a:gd name="T5" fmla="*/ 1235 h 7662"/>
                <a:gd name="T6" fmla="*/ 0 w 5365"/>
                <a:gd name="T7" fmla="*/ 1233 h 7662"/>
                <a:gd name="T8" fmla="*/ 1722 w 5365"/>
                <a:gd name="T9" fmla="*/ 7662 h 7662"/>
                <a:gd name="T10" fmla="*/ 3185 w 5365"/>
                <a:gd name="T11" fmla="*/ 5834 h 7662"/>
                <a:gd name="T12" fmla="*/ 5365 w 5365"/>
                <a:gd name="T13" fmla="*/ 6686 h 7662"/>
                <a:gd name="T14" fmla="*/ 3574 w 5365"/>
                <a:gd name="T15" fmla="*/ 0 h 7662"/>
                <a:gd name="T16" fmla="*/ 3234 w 5365"/>
                <a:gd name="T17" fmla="*/ 384 h 76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365" h="7662">
                  <a:moveTo>
                    <a:pt x="3234" y="384"/>
                  </a:moveTo>
                  <a:cubicBezTo>
                    <a:pt x="2776" y="649"/>
                    <a:pt x="2059" y="307"/>
                    <a:pt x="1547" y="444"/>
                  </a:cubicBezTo>
                  <a:cubicBezTo>
                    <a:pt x="1040" y="580"/>
                    <a:pt x="591" y="1235"/>
                    <a:pt x="57" y="1235"/>
                  </a:cubicBezTo>
                  <a:cubicBezTo>
                    <a:pt x="37" y="1235"/>
                    <a:pt x="18" y="1235"/>
                    <a:pt x="0" y="1233"/>
                  </a:cubicBezTo>
                  <a:lnTo>
                    <a:pt x="1722" y="7662"/>
                  </a:lnTo>
                  <a:lnTo>
                    <a:pt x="3185" y="5834"/>
                  </a:lnTo>
                  <a:lnTo>
                    <a:pt x="5365" y="6686"/>
                  </a:lnTo>
                  <a:lnTo>
                    <a:pt x="3574" y="0"/>
                  </a:lnTo>
                  <a:cubicBezTo>
                    <a:pt x="3485" y="162"/>
                    <a:pt x="3380" y="300"/>
                    <a:pt x="3234" y="384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" name="Freeform 353">
              <a:extLst>
                <a:ext uri="{FF2B5EF4-FFF2-40B4-BE49-F238E27FC236}">
                  <a16:creationId xmlns:a16="http://schemas.microsoft.com/office/drawing/2014/main" id="{DAD1C763-E31E-4212-98CA-65F48FEFF261}"/>
                </a:ext>
              </a:extLst>
            </p:cNvPr>
            <p:cNvSpPr>
              <a:spLocks/>
            </p:cNvSpPr>
            <p:nvPr/>
          </p:nvSpPr>
          <p:spPr bwMode="auto">
            <a:xfrm>
              <a:off x="2608373" y="443760"/>
              <a:ext cx="145448" cy="207954"/>
            </a:xfrm>
            <a:custGeom>
              <a:avLst/>
              <a:gdLst>
                <a:gd name="T0" fmla="*/ 2131 w 5366"/>
                <a:gd name="T1" fmla="*/ 384 h 7662"/>
                <a:gd name="T2" fmla="*/ 3818 w 5366"/>
                <a:gd name="T3" fmla="*/ 444 h 7662"/>
                <a:gd name="T4" fmla="*/ 5308 w 5366"/>
                <a:gd name="T5" fmla="*/ 1235 h 7662"/>
                <a:gd name="T6" fmla="*/ 5366 w 5366"/>
                <a:gd name="T7" fmla="*/ 1233 h 7662"/>
                <a:gd name="T8" fmla="*/ 3643 w 5366"/>
                <a:gd name="T9" fmla="*/ 7662 h 7662"/>
                <a:gd name="T10" fmla="*/ 2180 w 5366"/>
                <a:gd name="T11" fmla="*/ 5834 h 7662"/>
                <a:gd name="T12" fmla="*/ 0 w 5366"/>
                <a:gd name="T13" fmla="*/ 6686 h 7662"/>
                <a:gd name="T14" fmla="*/ 1791 w 5366"/>
                <a:gd name="T15" fmla="*/ 0 h 7662"/>
                <a:gd name="T16" fmla="*/ 2131 w 5366"/>
                <a:gd name="T17" fmla="*/ 384 h 76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366" h="7662">
                  <a:moveTo>
                    <a:pt x="2131" y="384"/>
                  </a:moveTo>
                  <a:cubicBezTo>
                    <a:pt x="2589" y="649"/>
                    <a:pt x="3306" y="307"/>
                    <a:pt x="3818" y="444"/>
                  </a:cubicBezTo>
                  <a:cubicBezTo>
                    <a:pt x="4325" y="580"/>
                    <a:pt x="4774" y="1235"/>
                    <a:pt x="5308" y="1235"/>
                  </a:cubicBezTo>
                  <a:cubicBezTo>
                    <a:pt x="5328" y="1235"/>
                    <a:pt x="5347" y="1235"/>
                    <a:pt x="5366" y="1233"/>
                  </a:cubicBezTo>
                  <a:lnTo>
                    <a:pt x="3643" y="7662"/>
                  </a:lnTo>
                  <a:lnTo>
                    <a:pt x="2180" y="5834"/>
                  </a:lnTo>
                  <a:lnTo>
                    <a:pt x="0" y="6686"/>
                  </a:lnTo>
                  <a:lnTo>
                    <a:pt x="1791" y="0"/>
                  </a:lnTo>
                  <a:cubicBezTo>
                    <a:pt x="1880" y="162"/>
                    <a:pt x="1985" y="300"/>
                    <a:pt x="2131" y="384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5" name="ZoneTexte 4">
            <a:extLst>
              <a:ext uri="{FF2B5EF4-FFF2-40B4-BE49-F238E27FC236}">
                <a16:creationId xmlns:a16="http://schemas.microsoft.com/office/drawing/2014/main" id="{DFEA2082-E7DE-4453-8158-54F380B94285}"/>
              </a:ext>
            </a:extLst>
          </p:cNvPr>
          <p:cNvSpPr txBox="1"/>
          <p:nvPr/>
        </p:nvSpPr>
        <p:spPr>
          <a:xfrm>
            <a:off x="8045042" y="1417320"/>
            <a:ext cx="3649777" cy="11387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3200" dirty="0">
                <a:latin typeface="Arial" panose="020B0604020202020204" pitchFamily="34" charset="0"/>
                <a:cs typeface="Arial" panose="020B0604020202020204" pitchFamily="34" charset="0"/>
              </a:rPr>
              <a:t>Les </a:t>
            </a:r>
            <a:r>
              <a:rPr lang="fr-FR" sz="3200" dirty="0" err="1">
                <a:latin typeface="Arial" panose="020B0604020202020204" pitchFamily="34" charset="0"/>
                <a:cs typeface="Arial" panose="020B0604020202020204" pitchFamily="34" charset="0"/>
              </a:rPr>
              <a:t>ecritures</a:t>
            </a:r>
            <a:endParaRPr lang="fr-FR" sz="3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fr-FR" dirty="0"/>
          </a:p>
          <a:p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9988614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Espace réservé du contenu 4">
            <a:extLst>
              <a:ext uri="{FF2B5EF4-FFF2-40B4-BE49-F238E27FC236}">
                <a16:creationId xmlns:a16="http://schemas.microsoft.com/office/drawing/2014/main" id="{9E5A8C8C-819C-46F4-AB03-862877E6AC92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6876" y="710215"/>
            <a:ext cx="11792432" cy="5047642"/>
          </a:xfrm>
        </p:spPr>
      </p:pic>
    </p:spTree>
    <p:extLst>
      <p:ext uri="{BB962C8B-B14F-4D97-AF65-F5344CB8AC3E}">
        <p14:creationId xmlns:p14="http://schemas.microsoft.com/office/powerpoint/2010/main" val="456064155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Espace réservé du contenu 4">
            <a:extLst>
              <a:ext uri="{FF2B5EF4-FFF2-40B4-BE49-F238E27FC236}">
                <a16:creationId xmlns:a16="http://schemas.microsoft.com/office/drawing/2014/main" id="{9E5A8C8C-819C-46F4-AB03-862877E6AC92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57078" y="710215"/>
            <a:ext cx="11592028" cy="5660768"/>
          </a:xfrm>
        </p:spPr>
      </p:pic>
    </p:spTree>
    <p:extLst>
      <p:ext uri="{BB962C8B-B14F-4D97-AF65-F5344CB8AC3E}">
        <p14:creationId xmlns:p14="http://schemas.microsoft.com/office/powerpoint/2010/main" val="3566007874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84" name="Rectangle 83">
            <a:extLst>
              <a:ext uri="{FF2B5EF4-FFF2-40B4-BE49-F238E27FC236}">
                <a16:creationId xmlns:a16="http://schemas.microsoft.com/office/drawing/2014/main" id="{23E547B5-89CF-4EC0-96DE-25771AED079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6" name="Rectangle 85">
            <a:extLst>
              <a:ext uri="{FF2B5EF4-FFF2-40B4-BE49-F238E27FC236}">
                <a16:creationId xmlns:a16="http://schemas.microsoft.com/office/drawing/2014/main" id="{3F0B8CEB-8279-4E5E-A0CE-1FC9F71736F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770782" y="0"/>
            <a:ext cx="7421217" cy="6857999"/>
          </a:xfrm>
          <a:prstGeom prst="rect">
            <a:avLst/>
          </a:prstGeom>
          <a:solidFill>
            <a:srgbClr val="82766A">
              <a:alpha val="1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02517F6E-26E9-44E8-815E-774552D95FD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320466" y="609600"/>
            <a:ext cx="4140014" cy="1330839"/>
          </a:xfrm>
          <a:prstGeom prst="ellipse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br>
              <a:rPr lang="en-US" sz="2800" dirty="0"/>
            </a:br>
            <a:endParaRPr lang="en-US" sz="2800" dirty="0"/>
          </a:p>
        </p:txBody>
      </p:sp>
      <p:pic>
        <p:nvPicPr>
          <p:cNvPr id="36" name="Picture 35">
            <a:extLst>
              <a:ext uri="{FF2B5EF4-FFF2-40B4-BE49-F238E27FC236}">
                <a16:creationId xmlns:a16="http://schemas.microsoft.com/office/drawing/2014/main" id="{FC9EF324-339C-4E46-9508-BF0C86AAC793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5"/>
              </a:ext>
            </a:extLst>
          </a:blip>
          <a:srcRect l="16675" r="16676" b="1"/>
          <a:stretch/>
        </p:blipFill>
        <p:spPr>
          <a:xfrm>
            <a:off x="20" y="10"/>
            <a:ext cx="6901711" cy="6857990"/>
          </a:xfrm>
          <a:custGeom>
            <a:avLst/>
            <a:gdLst/>
            <a:ahLst/>
            <a:cxnLst/>
            <a:rect l="l" t="t" r="r" b="b"/>
            <a:pathLst>
              <a:path w="6901731" h="6858000">
                <a:moveTo>
                  <a:pt x="0" y="0"/>
                </a:moveTo>
                <a:lnTo>
                  <a:pt x="6897896" y="5958"/>
                </a:lnTo>
                <a:lnTo>
                  <a:pt x="6866823" y="62592"/>
                </a:lnTo>
                <a:lnTo>
                  <a:pt x="6901731" y="89476"/>
                </a:lnTo>
                <a:lnTo>
                  <a:pt x="6901731" y="103833"/>
                </a:lnTo>
                <a:lnTo>
                  <a:pt x="6900034" y="110092"/>
                </a:lnTo>
                <a:lnTo>
                  <a:pt x="6901731" y="113679"/>
                </a:lnTo>
                <a:lnTo>
                  <a:pt x="6901731" y="405560"/>
                </a:lnTo>
                <a:lnTo>
                  <a:pt x="6900456" y="429509"/>
                </a:lnTo>
                <a:cubicBezTo>
                  <a:pt x="6892773" y="535647"/>
                  <a:pt x="6878314" y="537918"/>
                  <a:pt x="6886342" y="636808"/>
                </a:cubicBezTo>
                <a:cubicBezTo>
                  <a:pt x="6892506" y="756883"/>
                  <a:pt x="6864504" y="771443"/>
                  <a:pt x="6851784" y="839073"/>
                </a:cubicBezTo>
                <a:cubicBezTo>
                  <a:pt x="6838675" y="892655"/>
                  <a:pt x="6864124" y="961738"/>
                  <a:pt x="6845760" y="994930"/>
                </a:cubicBezTo>
                <a:cubicBezTo>
                  <a:pt x="6833572" y="1024166"/>
                  <a:pt x="6859282" y="1058905"/>
                  <a:pt x="6845601" y="1112932"/>
                </a:cubicBezTo>
                <a:cubicBezTo>
                  <a:pt x="6838700" y="1149910"/>
                  <a:pt x="6829138" y="1151035"/>
                  <a:pt x="6820235" y="1187433"/>
                </a:cubicBezTo>
                <a:cubicBezTo>
                  <a:pt x="6815504" y="1196464"/>
                  <a:pt x="6777707" y="1338549"/>
                  <a:pt x="6759643" y="1337010"/>
                </a:cubicBezTo>
                <a:cubicBezTo>
                  <a:pt x="6737660" y="1337296"/>
                  <a:pt x="6760650" y="1396341"/>
                  <a:pt x="6736375" y="1382272"/>
                </a:cubicBezTo>
                <a:cubicBezTo>
                  <a:pt x="6755741" y="1415836"/>
                  <a:pt x="6714675" y="1414567"/>
                  <a:pt x="6701292" y="1432111"/>
                </a:cubicBezTo>
                <a:cubicBezTo>
                  <a:pt x="6721110" y="1460185"/>
                  <a:pt x="6692106" y="1490815"/>
                  <a:pt x="6686578" y="1518624"/>
                </a:cubicBezTo>
                <a:cubicBezTo>
                  <a:pt x="6682512" y="1567002"/>
                  <a:pt x="6679579" y="1571443"/>
                  <a:pt x="6670824" y="1607743"/>
                </a:cubicBezTo>
                <a:cubicBezTo>
                  <a:pt x="6671133" y="1629590"/>
                  <a:pt x="6663161" y="1656870"/>
                  <a:pt x="6664392" y="1696405"/>
                </a:cubicBezTo>
                <a:cubicBezTo>
                  <a:pt x="6655686" y="1770486"/>
                  <a:pt x="6641938" y="1757082"/>
                  <a:pt x="6642880" y="1812372"/>
                </a:cubicBezTo>
                <a:cubicBezTo>
                  <a:pt x="6638579" y="1872475"/>
                  <a:pt x="6619231" y="1825476"/>
                  <a:pt x="6612547" y="1876437"/>
                </a:cubicBezTo>
                <a:cubicBezTo>
                  <a:pt x="6600695" y="1913834"/>
                  <a:pt x="6591061" y="1923231"/>
                  <a:pt x="6571760" y="1953331"/>
                </a:cubicBezTo>
                <a:cubicBezTo>
                  <a:pt x="6561039" y="1989021"/>
                  <a:pt x="6544090" y="2087896"/>
                  <a:pt x="6520213" y="2096455"/>
                </a:cubicBezTo>
                <a:lnTo>
                  <a:pt x="6492461" y="2188148"/>
                </a:lnTo>
                <a:cubicBezTo>
                  <a:pt x="6504372" y="2211333"/>
                  <a:pt x="6489131" y="2253220"/>
                  <a:pt x="6471854" y="2259117"/>
                </a:cubicBezTo>
                <a:cubicBezTo>
                  <a:pt x="6466151" y="2287829"/>
                  <a:pt x="6440452" y="2301346"/>
                  <a:pt x="6439832" y="2328334"/>
                </a:cubicBezTo>
                <a:cubicBezTo>
                  <a:pt x="6431013" y="2351201"/>
                  <a:pt x="6444250" y="2396409"/>
                  <a:pt x="6425162" y="2408211"/>
                </a:cubicBezTo>
                <a:lnTo>
                  <a:pt x="6417221" y="2427382"/>
                </a:lnTo>
                <a:lnTo>
                  <a:pt x="6425030" y="2464387"/>
                </a:lnTo>
                <a:lnTo>
                  <a:pt x="6406293" y="2472223"/>
                </a:lnTo>
                <a:cubicBezTo>
                  <a:pt x="6406862" y="2477277"/>
                  <a:pt x="6406486" y="2491723"/>
                  <a:pt x="6405400" y="2493547"/>
                </a:cubicBezTo>
                <a:lnTo>
                  <a:pt x="6374829" y="2532070"/>
                </a:lnTo>
                <a:cubicBezTo>
                  <a:pt x="6374597" y="2545374"/>
                  <a:pt x="6360976" y="2563797"/>
                  <a:pt x="6350864" y="2577422"/>
                </a:cubicBezTo>
                <a:cubicBezTo>
                  <a:pt x="6327056" y="2632768"/>
                  <a:pt x="6341262" y="2616275"/>
                  <a:pt x="6329174" y="2663854"/>
                </a:cubicBezTo>
                <a:cubicBezTo>
                  <a:pt x="6326303" y="2703642"/>
                  <a:pt x="6332854" y="2709643"/>
                  <a:pt x="6315095" y="2741507"/>
                </a:cubicBezTo>
                <a:cubicBezTo>
                  <a:pt x="6319921" y="2740191"/>
                  <a:pt x="6321925" y="2742004"/>
                  <a:pt x="6322463" y="2745641"/>
                </a:cubicBezTo>
                <a:cubicBezTo>
                  <a:pt x="6322245" y="2747982"/>
                  <a:pt x="6322027" y="2750323"/>
                  <a:pt x="6321808" y="2752663"/>
                </a:cubicBezTo>
                <a:lnTo>
                  <a:pt x="6314569" y="2756718"/>
                </a:lnTo>
                <a:cubicBezTo>
                  <a:pt x="6289324" y="2773686"/>
                  <a:pt x="6317551" y="2780051"/>
                  <a:pt x="6315211" y="2811618"/>
                </a:cubicBezTo>
                <a:cubicBezTo>
                  <a:pt x="6315620" y="2826627"/>
                  <a:pt x="6296047" y="2885298"/>
                  <a:pt x="6302211" y="2882314"/>
                </a:cubicBezTo>
                <a:lnTo>
                  <a:pt x="6286167" y="2949597"/>
                </a:lnTo>
                <a:cubicBezTo>
                  <a:pt x="6286401" y="2994618"/>
                  <a:pt x="6286615" y="2971464"/>
                  <a:pt x="6287037" y="3008578"/>
                </a:cubicBezTo>
                <a:cubicBezTo>
                  <a:pt x="6293795" y="3029535"/>
                  <a:pt x="6274405" y="3114154"/>
                  <a:pt x="6259150" y="3123139"/>
                </a:cubicBezTo>
                <a:cubicBezTo>
                  <a:pt x="6250085" y="3189063"/>
                  <a:pt x="6269067" y="3151280"/>
                  <a:pt x="6272249" y="3227854"/>
                </a:cubicBezTo>
                <a:cubicBezTo>
                  <a:pt x="6278775" y="3295842"/>
                  <a:pt x="6289216" y="3303765"/>
                  <a:pt x="6292288" y="3378383"/>
                </a:cubicBezTo>
                <a:cubicBezTo>
                  <a:pt x="6303894" y="3395995"/>
                  <a:pt x="6287498" y="3432581"/>
                  <a:pt x="6288328" y="3459618"/>
                </a:cubicBezTo>
                <a:cubicBezTo>
                  <a:pt x="6289158" y="3486653"/>
                  <a:pt x="6299937" y="3538735"/>
                  <a:pt x="6297272" y="3540603"/>
                </a:cubicBezTo>
                <a:cubicBezTo>
                  <a:pt x="6296849" y="3577379"/>
                  <a:pt x="6294184" y="3587943"/>
                  <a:pt x="6291001" y="3638374"/>
                </a:cubicBezTo>
                <a:cubicBezTo>
                  <a:pt x="6283026" y="3666794"/>
                  <a:pt x="6265833" y="3731744"/>
                  <a:pt x="6283592" y="3763609"/>
                </a:cubicBezTo>
                <a:cubicBezTo>
                  <a:pt x="6264286" y="3758340"/>
                  <a:pt x="6290177" y="3803150"/>
                  <a:pt x="6274068" y="3814506"/>
                </a:cubicBezTo>
                <a:cubicBezTo>
                  <a:pt x="6260645" y="3821643"/>
                  <a:pt x="6265372" y="3836902"/>
                  <a:pt x="6262850" y="3850454"/>
                </a:cubicBezTo>
                <a:cubicBezTo>
                  <a:pt x="6250418" y="3863479"/>
                  <a:pt x="6250660" y="3955243"/>
                  <a:pt x="6257357" y="3975474"/>
                </a:cubicBezTo>
                <a:cubicBezTo>
                  <a:pt x="6245091" y="4036737"/>
                  <a:pt x="6237535" y="4029237"/>
                  <a:pt x="6257889" y="4073155"/>
                </a:cubicBezTo>
                <a:cubicBezTo>
                  <a:pt x="6259272" y="4085906"/>
                  <a:pt x="6239882" y="4116397"/>
                  <a:pt x="6237441" y="4126638"/>
                </a:cubicBezTo>
                <a:lnTo>
                  <a:pt x="6245587" y="4172738"/>
                </a:lnTo>
                <a:lnTo>
                  <a:pt x="6235772" y="4176721"/>
                </a:lnTo>
                <a:lnTo>
                  <a:pt x="6233287" y="4195136"/>
                </a:lnTo>
                <a:lnTo>
                  <a:pt x="6234619" y="4280850"/>
                </a:lnTo>
                <a:cubicBezTo>
                  <a:pt x="6239453" y="4320763"/>
                  <a:pt x="6223309" y="4337596"/>
                  <a:pt x="6219318" y="4402526"/>
                </a:cubicBezTo>
                <a:cubicBezTo>
                  <a:pt x="6205466" y="4516209"/>
                  <a:pt x="6216183" y="4588729"/>
                  <a:pt x="6216810" y="4651172"/>
                </a:cubicBezTo>
                <a:cubicBezTo>
                  <a:pt x="6217673" y="4756959"/>
                  <a:pt x="6228654" y="4824005"/>
                  <a:pt x="6225945" y="4916779"/>
                </a:cubicBezTo>
                <a:cubicBezTo>
                  <a:pt x="6217032" y="4993010"/>
                  <a:pt x="6264271" y="4984591"/>
                  <a:pt x="6230174" y="5051379"/>
                </a:cubicBezTo>
                <a:cubicBezTo>
                  <a:pt x="6235713" y="5056951"/>
                  <a:pt x="6239420" y="5163714"/>
                  <a:pt x="6242600" y="5170879"/>
                </a:cubicBezTo>
                <a:lnTo>
                  <a:pt x="6235996" y="5216428"/>
                </a:lnTo>
                <a:lnTo>
                  <a:pt x="6214638" y="5285298"/>
                </a:lnTo>
                <a:cubicBezTo>
                  <a:pt x="6211392" y="5297492"/>
                  <a:pt x="6225576" y="5312063"/>
                  <a:pt x="6228432" y="5317696"/>
                </a:cubicBezTo>
                <a:lnTo>
                  <a:pt x="6246496" y="5398787"/>
                </a:lnTo>
                <a:lnTo>
                  <a:pt x="6244793" y="5399530"/>
                </a:lnTo>
                <a:lnTo>
                  <a:pt x="6241695" y="5406948"/>
                </a:lnTo>
                <a:lnTo>
                  <a:pt x="6267461" y="5499413"/>
                </a:lnTo>
                <a:cubicBezTo>
                  <a:pt x="6285387" y="5533848"/>
                  <a:pt x="6284888" y="5550029"/>
                  <a:pt x="6295987" y="5582659"/>
                </a:cubicBezTo>
                <a:cubicBezTo>
                  <a:pt x="6311253" y="5681724"/>
                  <a:pt x="6295439" y="5695558"/>
                  <a:pt x="6364803" y="5784263"/>
                </a:cubicBezTo>
                <a:cubicBezTo>
                  <a:pt x="6379348" y="5818651"/>
                  <a:pt x="6412475" y="5906802"/>
                  <a:pt x="6423050" y="5922637"/>
                </a:cubicBezTo>
                <a:cubicBezTo>
                  <a:pt x="6445210" y="5973612"/>
                  <a:pt x="6468179" y="6023873"/>
                  <a:pt x="6497767" y="6090108"/>
                </a:cubicBezTo>
                <a:cubicBezTo>
                  <a:pt x="6571895" y="6150548"/>
                  <a:pt x="6572491" y="6236583"/>
                  <a:pt x="6606710" y="6281543"/>
                </a:cubicBezTo>
                <a:cubicBezTo>
                  <a:pt x="6633675" y="6335892"/>
                  <a:pt x="6654357" y="6388782"/>
                  <a:pt x="6667540" y="6443715"/>
                </a:cubicBezTo>
                <a:cubicBezTo>
                  <a:pt x="6685192" y="6466826"/>
                  <a:pt x="6650500" y="6508701"/>
                  <a:pt x="6659722" y="6550105"/>
                </a:cubicBezTo>
                <a:cubicBezTo>
                  <a:pt x="6665926" y="6645044"/>
                  <a:pt x="6669126" y="6627536"/>
                  <a:pt x="6671805" y="6687397"/>
                </a:cubicBezTo>
                <a:cubicBezTo>
                  <a:pt x="6682671" y="6733683"/>
                  <a:pt x="6665210" y="6772117"/>
                  <a:pt x="6669658" y="6806602"/>
                </a:cubicBezTo>
                <a:cubicBezTo>
                  <a:pt x="6661174" y="6812658"/>
                  <a:pt x="6667097" y="6831470"/>
                  <a:pt x="6675783" y="6850325"/>
                </a:cubicBezTo>
                <a:lnTo>
                  <a:pt x="6679704" y="6858000"/>
                </a:lnTo>
                <a:lnTo>
                  <a:pt x="4532241" y="6858000"/>
                </a:lnTo>
                <a:lnTo>
                  <a:pt x="1208596" y="6858000"/>
                </a:lnTo>
                <a:lnTo>
                  <a:pt x="0" y="6858000"/>
                </a:lnTo>
                <a:close/>
              </a:path>
            </a:pathLst>
          </a:custGeom>
        </p:spPr>
      </p:pic>
      <p:sp>
        <p:nvSpPr>
          <p:cNvPr id="5" name="ZoneTexte 4">
            <a:extLst>
              <a:ext uri="{FF2B5EF4-FFF2-40B4-BE49-F238E27FC236}">
                <a16:creationId xmlns:a16="http://schemas.microsoft.com/office/drawing/2014/main" id="{DFEA2082-E7DE-4453-8158-54F380B94285}"/>
              </a:ext>
            </a:extLst>
          </p:cNvPr>
          <p:cNvSpPr txBox="1"/>
          <p:nvPr/>
        </p:nvSpPr>
        <p:spPr>
          <a:xfrm>
            <a:off x="7320465" y="2194102"/>
            <a:ext cx="4140013" cy="390858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3200" dirty="0"/>
              <a:t>Les </a:t>
            </a:r>
            <a:r>
              <a:rPr lang="en-US" sz="3200" dirty="0" err="1"/>
              <a:t>écritures</a:t>
            </a:r>
            <a:endParaRPr lang="en-US" sz="3200" dirty="0"/>
          </a:p>
          <a:p>
            <a:pPr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n-US" sz="3200" dirty="0"/>
          </a:p>
          <a:p>
            <a:pPr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3200" dirty="0"/>
              <a:t>Cas pratiques </a:t>
            </a:r>
          </a:p>
          <a:p>
            <a:pPr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n-US" sz="3200" dirty="0"/>
          </a:p>
          <a:p>
            <a:pPr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3200" dirty="0"/>
              <a:t>Count 1</a:t>
            </a:r>
          </a:p>
          <a:p>
            <a:pPr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n-US" sz="2000" dirty="0"/>
          </a:p>
          <a:p>
            <a:pPr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n-US" sz="2000" dirty="0"/>
          </a:p>
        </p:txBody>
      </p:sp>
      <p:sp>
        <p:nvSpPr>
          <p:cNvPr id="4" name="ZoneTexte 3">
            <a:extLst>
              <a:ext uri="{FF2B5EF4-FFF2-40B4-BE49-F238E27FC236}">
                <a16:creationId xmlns:a16="http://schemas.microsoft.com/office/drawing/2014/main" id="{AE196125-F657-4A8D-BF6F-9D35E2A19BAA}"/>
              </a:ext>
            </a:extLst>
          </p:cNvPr>
          <p:cNvSpPr txBox="1"/>
          <p:nvPr/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fr-FR" dirty="0"/>
          </a:p>
        </p:txBody>
      </p:sp>
      <p:sp>
        <p:nvSpPr>
          <p:cNvPr id="23" name="ZoneTexte 2">
            <a:extLst>
              <a:ext uri="{FF2B5EF4-FFF2-40B4-BE49-F238E27FC236}">
                <a16:creationId xmlns:a16="http://schemas.microsoft.com/office/drawing/2014/main" id="{61BA051E-0D20-4CC3-9958-C0CFDE297C40}"/>
              </a:ext>
            </a:extLst>
          </p:cNvPr>
          <p:cNvSpPr txBox="1"/>
          <p:nvPr/>
        </p:nvSpPr>
        <p:spPr>
          <a:xfrm>
            <a:off x="1179226" y="3092970"/>
            <a:ext cx="9833548" cy="269397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fr-FR" sz="2000" dirty="0">
              <a:solidFill>
                <a:srgbClr val="000000"/>
              </a:solidFill>
            </a:endParaRPr>
          </a:p>
          <a:p>
            <a:pPr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fr-FR" sz="2000" dirty="0">
              <a:solidFill>
                <a:srgbClr val="000000"/>
              </a:solidFill>
            </a:endParaRPr>
          </a:p>
          <a:p>
            <a:pPr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fr-FR" sz="2000" dirty="0">
              <a:solidFill>
                <a:srgbClr val="000000"/>
              </a:solidFill>
            </a:endParaRPr>
          </a:p>
        </p:txBody>
      </p:sp>
      <p:grpSp>
        <p:nvGrpSpPr>
          <p:cNvPr id="7" name="Award2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471C68EA-2299-4048-9768-29BE3CCCA72D}"/>
              </a:ext>
            </a:extLst>
          </p:cNvPr>
          <p:cNvGrpSpPr>
            <a:grpSpLocks noChangeAspect="1"/>
          </p:cNvGrpSpPr>
          <p:nvPr>
            <p:custDataLst>
              <p:tags r:id="rId1"/>
            </p:custDataLst>
          </p:nvPr>
        </p:nvGrpSpPr>
        <p:grpSpPr>
          <a:xfrm>
            <a:off x="0" y="0"/>
            <a:ext cx="344587" cy="542925"/>
            <a:chOff x="2585735" y="108789"/>
            <a:chExt cx="344587" cy="542925"/>
          </a:xfrm>
        </p:grpSpPr>
        <p:sp>
          <p:nvSpPr>
            <p:cNvPr id="8" name="Freeform: Shape 206">
              <a:extLst>
                <a:ext uri="{FF2B5EF4-FFF2-40B4-BE49-F238E27FC236}">
                  <a16:creationId xmlns:a16="http://schemas.microsoft.com/office/drawing/2014/main" id="{F1582718-4360-43D7-8A82-7C736EEF1575}"/>
                </a:ext>
              </a:extLst>
            </p:cNvPr>
            <p:cNvSpPr>
              <a:spLocks/>
            </p:cNvSpPr>
            <p:nvPr/>
          </p:nvSpPr>
          <p:spPr bwMode="auto">
            <a:xfrm>
              <a:off x="2585735" y="108789"/>
              <a:ext cx="344587" cy="344988"/>
            </a:xfrm>
            <a:custGeom>
              <a:avLst/>
              <a:gdLst>
                <a:gd name="connsiteX0" fmla="*/ 167961 w 344587"/>
                <a:gd name="connsiteY0" fmla="*/ 276672 h 344988"/>
                <a:gd name="connsiteX1" fmla="*/ 168781 w 344587"/>
                <a:gd name="connsiteY1" fmla="*/ 281441 h 344988"/>
                <a:gd name="connsiteX2" fmla="*/ 165282 w 344587"/>
                <a:gd name="connsiteY2" fmla="*/ 284827 h 344988"/>
                <a:gd name="connsiteX3" fmla="*/ 170121 w 344587"/>
                <a:gd name="connsiteY3" fmla="*/ 285532 h 344988"/>
                <a:gd name="connsiteX4" fmla="*/ 172307 w 344587"/>
                <a:gd name="connsiteY4" fmla="*/ 289894 h 344988"/>
                <a:gd name="connsiteX5" fmla="*/ 174467 w 344587"/>
                <a:gd name="connsiteY5" fmla="*/ 285532 h 344988"/>
                <a:gd name="connsiteX6" fmla="*/ 179306 w 344587"/>
                <a:gd name="connsiteY6" fmla="*/ 284827 h 344988"/>
                <a:gd name="connsiteX7" fmla="*/ 175806 w 344587"/>
                <a:gd name="connsiteY7" fmla="*/ 281441 h 344988"/>
                <a:gd name="connsiteX8" fmla="*/ 176627 w 344587"/>
                <a:gd name="connsiteY8" fmla="*/ 276672 h 344988"/>
                <a:gd name="connsiteX9" fmla="*/ 172307 w 344587"/>
                <a:gd name="connsiteY9" fmla="*/ 278921 h 344988"/>
                <a:gd name="connsiteX10" fmla="*/ 194527 w 344587"/>
                <a:gd name="connsiteY10" fmla="*/ 274468 h 344988"/>
                <a:gd name="connsiteX11" fmla="*/ 190704 w 344587"/>
                <a:gd name="connsiteY11" fmla="*/ 277391 h 344988"/>
                <a:gd name="connsiteX12" fmla="*/ 186127 w 344587"/>
                <a:gd name="connsiteY12" fmla="*/ 275943 h 344988"/>
                <a:gd name="connsiteX13" fmla="*/ 187742 w 344587"/>
                <a:gd name="connsiteY13" fmla="*/ 280475 h 344988"/>
                <a:gd name="connsiteX14" fmla="*/ 184915 w 344587"/>
                <a:gd name="connsiteY14" fmla="*/ 284363 h 344988"/>
                <a:gd name="connsiteX15" fmla="*/ 189761 w 344587"/>
                <a:gd name="connsiteY15" fmla="*/ 284229 h 344988"/>
                <a:gd name="connsiteX16" fmla="*/ 192615 w 344587"/>
                <a:gd name="connsiteY16" fmla="*/ 288091 h 344988"/>
                <a:gd name="connsiteX17" fmla="*/ 193961 w 344587"/>
                <a:gd name="connsiteY17" fmla="*/ 283479 h 344988"/>
                <a:gd name="connsiteX18" fmla="*/ 198538 w 344587"/>
                <a:gd name="connsiteY18" fmla="*/ 281977 h 344988"/>
                <a:gd name="connsiteX19" fmla="*/ 194554 w 344587"/>
                <a:gd name="connsiteY19" fmla="*/ 279268 h 344988"/>
                <a:gd name="connsiteX20" fmla="*/ 149919 w 344587"/>
                <a:gd name="connsiteY20" fmla="*/ 274468 h 344988"/>
                <a:gd name="connsiteX21" fmla="*/ 149892 w 344587"/>
                <a:gd name="connsiteY21" fmla="*/ 279268 h 344988"/>
                <a:gd name="connsiteX22" fmla="*/ 145849 w 344587"/>
                <a:gd name="connsiteY22" fmla="*/ 281977 h 344988"/>
                <a:gd name="connsiteX23" fmla="*/ 150493 w 344587"/>
                <a:gd name="connsiteY23" fmla="*/ 283479 h 344988"/>
                <a:gd name="connsiteX24" fmla="*/ 151859 w 344587"/>
                <a:gd name="connsiteY24" fmla="*/ 288091 h 344988"/>
                <a:gd name="connsiteX25" fmla="*/ 154755 w 344587"/>
                <a:gd name="connsiteY25" fmla="*/ 284229 h 344988"/>
                <a:gd name="connsiteX26" fmla="*/ 159672 w 344587"/>
                <a:gd name="connsiteY26" fmla="*/ 284363 h 344988"/>
                <a:gd name="connsiteX27" fmla="*/ 156804 w 344587"/>
                <a:gd name="connsiteY27" fmla="*/ 280475 h 344988"/>
                <a:gd name="connsiteX28" fmla="*/ 158443 w 344587"/>
                <a:gd name="connsiteY28" fmla="*/ 275943 h 344988"/>
                <a:gd name="connsiteX29" fmla="*/ 153798 w 344587"/>
                <a:gd name="connsiteY29" fmla="*/ 277391 h 344988"/>
                <a:gd name="connsiteX30" fmla="*/ 211844 w 344587"/>
                <a:gd name="connsiteY30" fmla="*/ 268858 h 344988"/>
                <a:gd name="connsiteX31" fmla="*/ 208584 w 344587"/>
                <a:gd name="connsiteY31" fmla="*/ 272467 h 344988"/>
                <a:gd name="connsiteX32" fmla="*/ 203747 w 344587"/>
                <a:gd name="connsiteY32" fmla="*/ 271811 h 344988"/>
                <a:gd name="connsiteX33" fmla="*/ 206165 w 344587"/>
                <a:gd name="connsiteY33" fmla="*/ 276075 h 344988"/>
                <a:gd name="connsiteX34" fmla="*/ 204046 w 344587"/>
                <a:gd name="connsiteY34" fmla="*/ 280504 h 344988"/>
                <a:gd name="connsiteX35" fmla="*/ 208828 w 344587"/>
                <a:gd name="connsiteY35" fmla="*/ 279492 h 344988"/>
                <a:gd name="connsiteX36" fmla="*/ 212334 w 344587"/>
                <a:gd name="connsiteY36" fmla="*/ 282882 h 344988"/>
                <a:gd name="connsiteX37" fmla="*/ 212877 w 344587"/>
                <a:gd name="connsiteY37" fmla="*/ 278016 h 344988"/>
                <a:gd name="connsiteX38" fmla="*/ 217170 w 344587"/>
                <a:gd name="connsiteY38" fmla="*/ 275693 h 344988"/>
                <a:gd name="connsiteX39" fmla="*/ 212714 w 344587"/>
                <a:gd name="connsiteY39" fmla="*/ 273670 h 344988"/>
                <a:gd name="connsiteX40" fmla="*/ 132663 w 344587"/>
                <a:gd name="connsiteY40" fmla="*/ 268858 h 344988"/>
                <a:gd name="connsiteX41" fmla="*/ 131807 w 344587"/>
                <a:gd name="connsiteY41" fmla="*/ 273670 h 344988"/>
                <a:gd name="connsiteX42" fmla="*/ 127417 w 344587"/>
                <a:gd name="connsiteY42" fmla="*/ 275693 h 344988"/>
                <a:gd name="connsiteX43" fmla="*/ 131646 w 344587"/>
                <a:gd name="connsiteY43" fmla="*/ 278016 h 344988"/>
                <a:gd name="connsiteX44" fmla="*/ 132182 w 344587"/>
                <a:gd name="connsiteY44" fmla="*/ 282882 h 344988"/>
                <a:gd name="connsiteX45" fmla="*/ 135635 w 344587"/>
                <a:gd name="connsiteY45" fmla="*/ 279492 h 344988"/>
                <a:gd name="connsiteX46" fmla="*/ 140345 w 344587"/>
                <a:gd name="connsiteY46" fmla="*/ 280504 h 344988"/>
                <a:gd name="connsiteX47" fmla="*/ 138258 w 344587"/>
                <a:gd name="connsiteY47" fmla="*/ 276075 h 344988"/>
                <a:gd name="connsiteX48" fmla="*/ 140640 w 344587"/>
                <a:gd name="connsiteY48" fmla="*/ 271811 h 344988"/>
                <a:gd name="connsiteX49" fmla="*/ 135875 w 344587"/>
                <a:gd name="connsiteY49" fmla="*/ 272467 h 344988"/>
                <a:gd name="connsiteX50" fmla="*/ 228015 w 344587"/>
                <a:gd name="connsiteY50" fmla="*/ 260644 h 344988"/>
                <a:gd name="connsiteX51" fmla="*/ 225418 w 344587"/>
                <a:gd name="connsiteY51" fmla="*/ 264769 h 344988"/>
                <a:gd name="connsiteX52" fmla="*/ 220576 w 344587"/>
                <a:gd name="connsiteY52" fmla="*/ 264959 h 344988"/>
                <a:gd name="connsiteX53" fmla="*/ 223687 w 344587"/>
                <a:gd name="connsiteY53" fmla="*/ 268704 h 344988"/>
                <a:gd name="connsiteX54" fmla="*/ 222361 w 344587"/>
                <a:gd name="connsiteY54" fmla="*/ 273372 h 344988"/>
                <a:gd name="connsiteX55" fmla="*/ 226879 w 344587"/>
                <a:gd name="connsiteY55" fmla="*/ 271581 h 344988"/>
                <a:gd name="connsiteX56" fmla="*/ 230910 w 344587"/>
                <a:gd name="connsiteY56" fmla="*/ 274268 h 344988"/>
                <a:gd name="connsiteX57" fmla="*/ 230585 w 344587"/>
                <a:gd name="connsiteY57" fmla="*/ 269410 h 344988"/>
                <a:gd name="connsiteX58" fmla="*/ 234399 w 344587"/>
                <a:gd name="connsiteY58" fmla="*/ 266398 h 344988"/>
                <a:gd name="connsiteX59" fmla="*/ 229692 w 344587"/>
                <a:gd name="connsiteY59" fmla="*/ 265204 h 344988"/>
                <a:gd name="connsiteX60" fmla="*/ 116572 w 344587"/>
                <a:gd name="connsiteY60" fmla="*/ 260644 h 344988"/>
                <a:gd name="connsiteX61" fmla="*/ 114895 w 344587"/>
                <a:gd name="connsiteY61" fmla="*/ 265204 h 344988"/>
                <a:gd name="connsiteX62" fmla="*/ 110188 w 344587"/>
                <a:gd name="connsiteY62" fmla="*/ 266398 h 344988"/>
                <a:gd name="connsiteX63" fmla="*/ 114002 w 344587"/>
                <a:gd name="connsiteY63" fmla="*/ 269410 h 344988"/>
                <a:gd name="connsiteX64" fmla="*/ 113678 w 344587"/>
                <a:gd name="connsiteY64" fmla="*/ 274268 h 344988"/>
                <a:gd name="connsiteX65" fmla="*/ 117708 w 344587"/>
                <a:gd name="connsiteY65" fmla="*/ 271581 h 344988"/>
                <a:gd name="connsiteX66" fmla="*/ 122226 w 344587"/>
                <a:gd name="connsiteY66" fmla="*/ 273372 h 344988"/>
                <a:gd name="connsiteX67" fmla="*/ 120900 w 344587"/>
                <a:gd name="connsiteY67" fmla="*/ 268704 h 344988"/>
                <a:gd name="connsiteX68" fmla="*/ 124011 w 344587"/>
                <a:gd name="connsiteY68" fmla="*/ 264959 h 344988"/>
                <a:gd name="connsiteX69" fmla="*/ 119169 w 344587"/>
                <a:gd name="connsiteY69" fmla="*/ 264769 h 344988"/>
                <a:gd name="connsiteX70" fmla="*/ 242363 w 344587"/>
                <a:gd name="connsiteY70" fmla="*/ 249625 h 344988"/>
                <a:gd name="connsiteX71" fmla="*/ 240527 w 344587"/>
                <a:gd name="connsiteY71" fmla="*/ 254100 h 344988"/>
                <a:gd name="connsiteX72" fmla="*/ 235802 w 344587"/>
                <a:gd name="connsiteY72" fmla="*/ 255124 h 344988"/>
                <a:gd name="connsiteX73" fmla="*/ 239501 w 344587"/>
                <a:gd name="connsiteY73" fmla="*/ 258251 h 344988"/>
                <a:gd name="connsiteX74" fmla="*/ 239015 w 344587"/>
                <a:gd name="connsiteY74" fmla="*/ 263048 h 344988"/>
                <a:gd name="connsiteX75" fmla="*/ 243119 w 344587"/>
                <a:gd name="connsiteY75" fmla="*/ 260515 h 344988"/>
                <a:gd name="connsiteX76" fmla="*/ 247546 w 344587"/>
                <a:gd name="connsiteY76" fmla="*/ 262455 h 344988"/>
                <a:gd name="connsiteX77" fmla="*/ 246413 w 344587"/>
                <a:gd name="connsiteY77" fmla="*/ 257766 h 344988"/>
                <a:gd name="connsiteX78" fmla="*/ 249625 w 344587"/>
                <a:gd name="connsiteY78" fmla="*/ 254154 h 344988"/>
                <a:gd name="connsiteX79" fmla="*/ 244792 w 344587"/>
                <a:gd name="connsiteY79" fmla="*/ 253776 h 344988"/>
                <a:gd name="connsiteX80" fmla="*/ 102024 w 344587"/>
                <a:gd name="connsiteY80" fmla="*/ 249625 h 344988"/>
                <a:gd name="connsiteX81" fmla="*/ 99594 w 344587"/>
                <a:gd name="connsiteY81" fmla="*/ 253776 h 344988"/>
                <a:gd name="connsiteX82" fmla="*/ 94762 w 344587"/>
                <a:gd name="connsiteY82" fmla="*/ 254154 h 344988"/>
                <a:gd name="connsiteX83" fmla="*/ 97975 w 344587"/>
                <a:gd name="connsiteY83" fmla="*/ 257766 h 344988"/>
                <a:gd name="connsiteX84" fmla="*/ 96841 w 344587"/>
                <a:gd name="connsiteY84" fmla="*/ 262455 h 344988"/>
                <a:gd name="connsiteX85" fmla="*/ 101268 w 344587"/>
                <a:gd name="connsiteY85" fmla="*/ 260515 h 344988"/>
                <a:gd name="connsiteX86" fmla="*/ 105372 w 344587"/>
                <a:gd name="connsiteY86" fmla="*/ 263048 h 344988"/>
                <a:gd name="connsiteX87" fmla="*/ 104886 w 344587"/>
                <a:gd name="connsiteY87" fmla="*/ 258251 h 344988"/>
                <a:gd name="connsiteX88" fmla="*/ 108585 w 344587"/>
                <a:gd name="connsiteY88" fmla="*/ 255124 h 344988"/>
                <a:gd name="connsiteX89" fmla="*/ 103860 w 344587"/>
                <a:gd name="connsiteY89" fmla="*/ 254100 h 344988"/>
                <a:gd name="connsiteX90" fmla="*/ 254712 w 344587"/>
                <a:gd name="connsiteY90" fmla="*/ 236203 h 344988"/>
                <a:gd name="connsiteX91" fmla="*/ 253690 w 344587"/>
                <a:gd name="connsiteY91" fmla="*/ 240928 h 344988"/>
                <a:gd name="connsiteX92" fmla="*/ 249225 w 344587"/>
                <a:gd name="connsiteY92" fmla="*/ 242764 h 344988"/>
                <a:gd name="connsiteX93" fmla="*/ 253394 w 344587"/>
                <a:gd name="connsiteY93" fmla="*/ 245220 h 344988"/>
                <a:gd name="connsiteX94" fmla="*/ 253771 w 344587"/>
                <a:gd name="connsiteY94" fmla="*/ 250026 h 344988"/>
                <a:gd name="connsiteX95" fmla="*/ 257348 w 344587"/>
                <a:gd name="connsiteY95" fmla="*/ 246813 h 344988"/>
                <a:gd name="connsiteX96" fmla="*/ 262056 w 344587"/>
                <a:gd name="connsiteY96" fmla="*/ 247974 h 344988"/>
                <a:gd name="connsiteX97" fmla="*/ 260119 w 344587"/>
                <a:gd name="connsiteY97" fmla="*/ 243520 h 344988"/>
                <a:gd name="connsiteX98" fmla="*/ 262648 w 344587"/>
                <a:gd name="connsiteY98" fmla="*/ 239416 h 344988"/>
                <a:gd name="connsiteX99" fmla="*/ 257833 w 344587"/>
                <a:gd name="connsiteY99" fmla="*/ 239902 h 344988"/>
                <a:gd name="connsiteX100" fmla="*/ 89793 w 344587"/>
                <a:gd name="connsiteY100" fmla="*/ 236203 h 344988"/>
                <a:gd name="connsiteX101" fmla="*/ 86626 w 344587"/>
                <a:gd name="connsiteY101" fmla="*/ 239902 h 344988"/>
                <a:gd name="connsiteX102" fmla="*/ 81739 w 344587"/>
                <a:gd name="connsiteY102" fmla="*/ 239416 h 344988"/>
                <a:gd name="connsiteX103" fmla="*/ 84333 w 344587"/>
                <a:gd name="connsiteY103" fmla="*/ 243520 h 344988"/>
                <a:gd name="connsiteX104" fmla="*/ 82340 w 344587"/>
                <a:gd name="connsiteY104" fmla="*/ 247974 h 344988"/>
                <a:gd name="connsiteX105" fmla="*/ 87118 w 344587"/>
                <a:gd name="connsiteY105" fmla="*/ 246813 h 344988"/>
                <a:gd name="connsiteX106" fmla="*/ 90749 w 344587"/>
                <a:gd name="connsiteY106" fmla="*/ 250026 h 344988"/>
                <a:gd name="connsiteX107" fmla="*/ 91131 w 344587"/>
                <a:gd name="connsiteY107" fmla="*/ 245220 h 344988"/>
                <a:gd name="connsiteX108" fmla="*/ 95363 w 344587"/>
                <a:gd name="connsiteY108" fmla="*/ 242764 h 344988"/>
                <a:gd name="connsiteX109" fmla="*/ 90831 w 344587"/>
                <a:gd name="connsiteY109" fmla="*/ 240928 h 344988"/>
                <a:gd name="connsiteX110" fmla="*/ 264558 w 344587"/>
                <a:gd name="connsiteY110" fmla="*/ 220977 h 344988"/>
                <a:gd name="connsiteX111" fmla="*/ 264341 w 344587"/>
                <a:gd name="connsiteY111" fmla="*/ 225819 h 344988"/>
                <a:gd name="connsiteX112" fmla="*/ 260243 w 344587"/>
                <a:gd name="connsiteY112" fmla="*/ 228416 h 344988"/>
                <a:gd name="connsiteX113" fmla="*/ 264803 w 344587"/>
                <a:gd name="connsiteY113" fmla="*/ 230093 h 344988"/>
                <a:gd name="connsiteX114" fmla="*/ 265997 w 344587"/>
                <a:gd name="connsiteY114" fmla="*/ 234800 h 344988"/>
                <a:gd name="connsiteX115" fmla="*/ 269009 w 344587"/>
                <a:gd name="connsiteY115" fmla="*/ 230986 h 344988"/>
                <a:gd name="connsiteX116" fmla="*/ 273867 w 344587"/>
                <a:gd name="connsiteY116" fmla="*/ 231311 h 344988"/>
                <a:gd name="connsiteX117" fmla="*/ 271180 w 344587"/>
                <a:gd name="connsiteY117" fmla="*/ 227280 h 344988"/>
                <a:gd name="connsiteX118" fmla="*/ 272971 w 344587"/>
                <a:gd name="connsiteY118" fmla="*/ 222762 h 344988"/>
                <a:gd name="connsiteX119" fmla="*/ 268276 w 344587"/>
                <a:gd name="connsiteY119" fmla="*/ 224088 h 344988"/>
                <a:gd name="connsiteX120" fmla="*/ 80029 w 344587"/>
                <a:gd name="connsiteY120" fmla="*/ 220977 h 344988"/>
                <a:gd name="connsiteX121" fmla="*/ 76311 w 344587"/>
                <a:gd name="connsiteY121" fmla="*/ 224088 h 344988"/>
                <a:gd name="connsiteX122" fmla="*/ 71616 w 344587"/>
                <a:gd name="connsiteY122" fmla="*/ 222762 h 344988"/>
                <a:gd name="connsiteX123" fmla="*/ 73407 w 344587"/>
                <a:gd name="connsiteY123" fmla="*/ 227280 h 344988"/>
                <a:gd name="connsiteX124" fmla="*/ 70721 w 344587"/>
                <a:gd name="connsiteY124" fmla="*/ 231311 h 344988"/>
                <a:gd name="connsiteX125" fmla="*/ 75578 w 344587"/>
                <a:gd name="connsiteY125" fmla="*/ 230986 h 344988"/>
                <a:gd name="connsiteX126" fmla="*/ 78590 w 344587"/>
                <a:gd name="connsiteY126" fmla="*/ 234800 h 344988"/>
                <a:gd name="connsiteX127" fmla="*/ 79785 w 344587"/>
                <a:gd name="connsiteY127" fmla="*/ 230093 h 344988"/>
                <a:gd name="connsiteX128" fmla="*/ 84344 w 344587"/>
                <a:gd name="connsiteY128" fmla="*/ 228416 h 344988"/>
                <a:gd name="connsiteX129" fmla="*/ 80246 w 344587"/>
                <a:gd name="connsiteY129" fmla="*/ 225819 h 344988"/>
                <a:gd name="connsiteX130" fmla="*/ 271410 w 344587"/>
                <a:gd name="connsiteY130" fmla="*/ 204148 h 344988"/>
                <a:gd name="connsiteX131" fmla="*/ 272066 w 344587"/>
                <a:gd name="connsiteY131" fmla="*/ 208985 h 344988"/>
                <a:gd name="connsiteX132" fmla="*/ 268457 w 344587"/>
                <a:gd name="connsiteY132" fmla="*/ 212245 h 344988"/>
                <a:gd name="connsiteX133" fmla="*/ 273269 w 344587"/>
                <a:gd name="connsiteY133" fmla="*/ 213115 h 344988"/>
                <a:gd name="connsiteX134" fmla="*/ 275292 w 344587"/>
                <a:gd name="connsiteY134" fmla="*/ 217571 h 344988"/>
                <a:gd name="connsiteX135" fmla="*/ 277615 w 344587"/>
                <a:gd name="connsiteY135" fmla="*/ 213278 h 344988"/>
                <a:gd name="connsiteX136" fmla="*/ 282481 w 344587"/>
                <a:gd name="connsiteY136" fmla="*/ 212734 h 344988"/>
                <a:gd name="connsiteX137" fmla="*/ 279091 w 344587"/>
                <a:gd name="connsiteY137" fmla="*/ 209229 h 344988"/>
                <a:gd name="connsiteX138" fmla="*/ 280076 w 344587"/>
                <a:gd name="connsiteY138" fmla="*/ 204447 h 344988"/>
                <a:gd name="connsiteX139" fmla="*/ 275674 w 344587"/>
                <a:gd name="connsiteY139" fmla="*/ 206566 h 344988"/>
                <a:gd name="connsiteX140" fmla="*/ 73019 w 344587"/>
                <a:gd name="connsiteY140" fmla="*/ 204148 h 344988"/>
                <a:gd name="connsiteX141" fmla="*/ 68816 w 344587"/>
                <a:gd name="connsiteY141" fmla="*/ 206566 h 344988"/>
                <a:gd name="connsiteX142" fmla="*/ 64477 w 344587"/>
                <a:gd name="connsiteY142" fmla="*/ 204447 h 344988"/>
                <a:gd name="connsiteX143" fmla="*/ 65447 w 344587"/>
                <a:gd name="connsiteY143" fmla="*/ 209229 h 344988"/>
                <a:gd name="connsiteX144" fmla="*/ 62106 w 344587"/>
                <a:gd name="connsiteY144" fmla="*/ 212734 h 344988"/>
                <a:gd name="connsiteX145" fmla="*/ 66903 w 344587"/>
                <a:gd name="connsiteY145" fmla="*/ 213278 h 344988"/>
                <a:gd name="connsiteX146" fmla="*/ 69193 w 344587"/>
                <a:gd name="connsiteY146" fmla="*/ 217571 h 344988"/>
                <a:gd name="connsiteX147" fmla="*/ 71187 w 344587"/>
                <a:gd name="connsiteY147" fmla="*/ 213115 h 344988"/>
                <a:gd name="connsiteX148" fmla="*/ 75929 w 344587"/>
                <a:gd name="connsiteY148" fmla="*/ 212245 h 344988"/>
                <a:gd name="connsiteX149" fmla="*/ 72373 w 344587"/>
                <a:gd name="connsiteY149" fmla="*/ 208985 h 344988"/>
                <a:gd name="connsiteX150" fmla="*/ 283915 w 344587"/>
                <a:gd name="connsiteY150" fmla="*/ 185116 h 344988"/>
                <a:gd name="connsiteX151" fmla="*/ 279950 w 344587"/>
                <a:gd name="connsiteY151" fmla="*/ 187963 h 344988"/>
                <a:gd name="connsiteX152" fmla="*/ 275388 w 344587"/>
                <a:gd name="connsiteY152" fmla="*/ 186320 h 344988"/>
                <a:gd name="connsiteX153" fmla="*/ 276854 w 344587"/>
                <a:gd name="connsiteY153" fmla="*/ 191001 h 344988"/>
                <a:gd name="connsiteX154" fmla="*/ 273867 w 344587"/>
                <a:gd name="connsiteY154" fmla="*/ 194861 h 344988"/>
                <a:gd name="connsiteX155" fmla="*/ 278755 w 344587"/>
                <a:gd name="connsiteY155" fmla="*/ 194888 h 344988"/>
                <a:gd name="connsiteX156" fmla="*/ 281498 w 344587"/>
                <a:gd name="connsiteY156" fmla="*/ 198939 h 344988"/>
                <a:gd name="connsiteX157" fmla="*/ 283019 w 344587"/>
                <a:gd name="connsiteY157" fmla="*/ 194286 h 344988"/>
                <a:gd name="connsiteX158" fmla="*/ 287690 w 344587"/>
                <a:gd name="connsiteY158" fmla="*/ 192917 h 344988"/>
                <a:gd name="connsiteX159" fmla="*/ 283780 w 344587"/>
                <a:gd name="connsiteY159" fmla="*/ 190015 h 344988"/>
                <a:gd name="connsiteX160" fmla="*/ 60472 w 344587"/>
                <a:gd name="connsiteY160" fmla="*/ 185116 h 344988"/>
                <a:gd name="connsiteX161" fmla="*/ 60608 w 344587"/>
                <a:gd name="connsiteY161" fmla="*/ 190015 h 344988"/>
                <a:gd name="connsiteX162" fmla="*/ 56697 w 344587"/>
                <a:gd name="connsiteY162" fmla="*/ 192917 h 344988"/>
                <a:gd name="connsiteX163" fmla="*/ 61368 w 344587"/>
                <a:gd name="connsiteY163" fmla="*/ 194286 h 344988"/>
                <a:gd name="connsiteX164" fmla="*/ 62889 w 344587"/>
                <a:gd name="connsiteY164" fmla="*/ 198939 h 344988"/>
                <a:gd name="connsiteX165" fmla="*/ 65632 w 344587"/>
                <a:gd name="connsiteY165" fmla="*/ 194888 h 344988"/>
                <a:gd name="connsiteX166" fmla="*/ 70520 w 344587"/>
                <a:gd name="connsiteY166" fmla="*/ 194861 h 344988"/>
                <a:gd name="connsiteX167" fmla="*/ 67533 w 344587"/>
                <a:gd name="connsiteY167" fmla="*/ 191001 h 344988"/>
                <a:gd name="connsiteX168" fmla="*/ 68999 w 344587"/>
                <a:gd name="connsiteY168" fmla="*/ 186320 h 344988"/>
                <a:gd name="connsiteX169" fmla="*/ 64437 w 344587"/>
                <a:gd name="connsiteY169" fmla="*/ 187963 h 344988"/>
                <a:gd name="connsiteX170" fmla="*/ 284437 w 344587"/>
                <a:gd name="connsiteY170" fmla="*/ 165482 h 344988"/>
                <a:gd name="connsiteX171" fmla="*/ 281057 w 344587"/>
                <a:gd name="connsiteY171" fmla="*/ 168981 h 344988"/>
                <a:gd name="connsiteX172" fmla="*/ 276271 w 344587"/>
                <a:gd name="connsiteY172" fmla="*/ 168161 h 344988"/>
                <a:gd name="connsiteX173" fmla="*/ 278542 w 344587"/>
                <a:gd name="connsiteY173" fmla="*/ 172508 h 344988"/>
                <a:gd name="connsiteX174" fmla="*/ 276271 w 344587"/>
                <a:gd name="connsiteY174" fmla="*/ 176827 h 344988"/>
                <a:gd name="connsiteX175" fmla="*/ 281057 w 344587"/>
                <a:gd name="connsiteY175" fmla="*/ 176007 h 344988"/>
                <a:gd name="connsiteX176" fmla="*/ 284437 w 344587"/>
                <a:gd name="connsiteY176" fmla="*/ 179506 h 344988"/>
                <a:gd name="connsiteX177" fmla="*/ 285140 w 344587"/>
                <a:gd name="connsiteY177" fmla="*/ 174667 h 344988"/>
                <a:gd name="connsiteX178" fmla="*/ 289493 w 344587"/>
                <a:gd name="connsiteY178" fmla="*/ 172508 h 344988"/>
                <a:gd name="connsiteX179" fmla="*/ 285140 w 344587"/>
                <a:gd name="connsiteY179" fmla="*/ 170321 h 344988"/>
                <a:gd name="connsiteX180" fmla="*/ 60027 w 344587"/>
                <a:gd name="connsiteY180" fmla="*/ 165482 h 344988"/>
                <a:gd name="connsiteX181" fmla="*/ 59313 w 344587"/>
                <a:gd name="connsiteY181" fmla="*/ 170321 h 344988"/>
                <a:gd name="connsiteX182" fmla="*/ 54894 w 344587"/>
                <a:gd name="connsiteY182" fmla="*/ 172508 h 344988"/>
                <a:gd name="connsiteX183" fmla="*/ 59313 w 344587"/>
                <a:gd name="connsiteY183" fmla="*/ 174667 h 344988"/>
                <a:gd name="connsiteX184" fmla="*/ 60027 w 344587"/>
                <a:gd name="connsiteY184" fmla="*/ 179506 h 344988"/>
                <a:gd name="connsiteX185" fmla="*/ 63458 w 344587"/>
                <a:gd name="connsiteY185" fmla="*/ 176007 h 344988"/>
                <a:gd name="connsiteX186" fmla="*/ 68317 w 344587"/>
                <a:gd name="connsiteY186" fmla="*/ 176827 h 344988"/>
                <a:gd name="connsiteX187" fmla="*/ 66011 w 344587"/>
                <a:gd name="connsiteY187" fmla="*/ 172508 h 344988"/>
                <a:gd name="connsiteX188" fmla="*/ 68317 w 344587"/>
                <a:gd name="connsiteY188" fmla="*/ 168161 h 344988"/>
                <a:gd name="connsiteX189" fmla="*/ 63458 w 344587"/>
                <a:gd name="connsiteY189" fmla="*/ 168981 h 344988"/>
                <a:gd name="connsiteX190" fmla="*/ 281498 w 344587"/>
                <a:gd name="connsiteY190" fmla="*/ 146049 h 344988"/>
                <a:gd name="connsiteX191" fmla="*/ 278755 w 344587"/>
                <a:gd name="connsiteY191" fmla="*/ 150092 h 344988"/>
                <a:gd name="connsiteX192" fmla="*/ 273867 w 344587"/>
                <a:gd name="connsiteY192" fmla="*/ 150120 h 344988"/>
                <a:gd name="connsiteX193" fmla="*/ 276854 w 344587"/>
                <a:gd name="connsiteY193" fmla="*/ 153999 h 344988"/>
                <a:gd name="connsiteX194" fmla="*/ 275388 w 344587"/>
                <a:gd name="connsiteY194" fmla="*/ 158670 h 344988"/>
                <a:gd name="connsiteX195" fmla="*/ 279950 w 344587"/>
                <a:gd name="connsiteY195" fmla="*/ 157004 h 344988"/>
                <a:gd name="connsiteX196" fmla="*/ 283915 w 344587"/>
                <a:gd name="connsiteY196" fmla="*/ 159872 h 344988"/>
                <a:gd name="connsiteX197" fmla="*/ 283780 w 344587"/>
                <a:gd name="connsiteY197" fmla="*/ 154955 h 344988"/>
                <a:gd name="connsiteX198" fmla="*/ 287690 w 344587"/>
                <a:gd name="connsiteY198" fmla="*/ 152059 h 344988"/>
                <a:gd name="connsiteX199" fmla="*/ 283019 w 344587"/>
                <a:gd name="connsiteY199" fmla="*/ 150693 h 344988"/>
                <a:gd name="connsiteX200" fmla="*/ 62889 w 344587"/>
                <a:gd name="connsiteY200" fmla="*/ 146049 h 344988"/>
                <a:gd name="connsiteX201" fmla="*/ 61368 w 344587"/>
                <a:gd name="connsiteY201" fmla="*/ 150693 h 344988"/>
                <a:gd name="connsiteX202" fmla="*/ 56697 w 344587"/>
                <a:gd name="connsiteY202" fmla="*/ 152059 h 344988"/>
                <a:gd name="connsiteX203" fmla="*/ 60608 w 344587"/>
                <a:gd name="connsiteY203" fmla="*/ 154955 h 344988"/>
                <a:gd name="connsiteX204" fmla="*/ 60472 w 344587"/>
                <a:gd name="connsiteY204" fmla="*/ 159872 h 344988"/>
                <a:gd name="connsiteX205" fmla="*/ 64437 w 344587"/>
                <a:gd name="connsiteY205" fmla="*/ 157004 h 344988"/>
                <a:gd name="connsiteX206" fmla="*/ 68999 w 344587"/>
                <a:gd name="connsiteY206" fmla="*/ 158670 h 344988"/>
                <a:gd name="connsiteX207" fmla="*/ 67533 w 344587"/>
                <a:gd name="connsiteY207" fmla="*/ 153999 h 344988"/>
                <a:gd name="connsiteX208" fmla="*/ 70520 w 344587"/>
                <a:gd name="connsiteY208" fmla="*/ 150120 h 344988"/>
                <a:gd name="connsiteX209" fmla="*/ 65632 w 344587"/>
                <a:gd name="connsiteY209" fmla="*/ 150092 h 344988"/>
                <a:gd name="connsiteX210" fmla="*/ 275292 w 344587"/>
                <a:gd name="connsiteY210" fmla="*/ 127618 h 344988"/>
                <a:gd name="connsiteX211" fmla="*/ 273269 w 344587"/>
                <a:gd name="connsiteY211" fmla="*/ 132007 h 344988"/>
                <a:gd name="connsiteX212" fmla="*/ 268457 w 344587"/>
                <a:gd name="connsiteY212" fmla="*/ 132864 h 344988"/>
                <a:gd name="connsiteX213" fmla="*/ 272066 w 344587"/>
                <a:gd name="connsiteY213" fmla="*/ 136103 h 344988"/>
                <a:gd name="connsiteX214" fmla="*/ 271410 w 344587"/>
                <a:gd name="connsiteY214" fmla="*/ 140840 h 344988"/>
                <a:gd name="connsiteX215" fmla="*/ 275674 w 344587"/>
                <a:gd name="connsiteY215" fmla="*/ 138458 h 344988"/>
                <a:gd name="connsiteX216" fmla="*/ 280076 w 344587"/>
                <a:gd name="connsiteY216" fmla="*/ 140546 h 344988"/>
                <a:gd name="connsiteX217" fmla="*/ 279091 w 344587"/>
                <a:gd name="connsiteY217" fmla="*/ 135862 h 344988"/>
                <a:gd name="connsiteX218" fmla="*/ 282481 w 344587"/>
                <a:gd name="connsiteY218" fmla="*/ 132382 h 344988"/>
                <a:gd name="connsiteX219" fmla="*/ 277615 w 344587"/>
                <a:gd name="connsiteY219" fmla="*/ 131847 h 344988"/>
                <a:gd name="connsiteX220" fmla="*/ 69193 w 344587"/>
                <a:gd name="connsiteY220" fmla="*/ 127618 h 344988"/>
                <a:gd name="connsiteX221" fmla="*/ 66903 w 344587"/>
                <a:gd name="connsiteY221" fmla="*/ 131847 h 344988"/>
                <a:gd name="connsiteX222" fmla="*/ 62106 w 344587"/>
                <a:gd name="connsiteY222" fmla="*/ 132382 h 344988"/>
                <a:gd name="connsiteX223" fmla="*/ 65447 w 344587"/>
                <a:gd name="connsiteY223" fmla="*/ 135862 h 344988"/>
                <a:gd name="connsiteX224" fmla="*/ 64477 w 344587"/>
                <a:gd name="connsiteY224" fmla="*/ 140546 h 344988"/>
                <a:gd name="connsiteX225" fmla="*/ 68816 w 344587"/>
                <a:gd name="connsiteY225" fmla="*/ 138458 h 344988"/>
                <a:gd name="connsiteX226" fmla="*/ 73019 w 344587"/>
                <a:gd name="connsiteY226" fmla="*/ 140840 h 344988"/>
                <a:gd name="connsiteX227" fmla="*/ 72373 w 344587"/>
                <a:gd name="connsiteY227" fmla="*/ 136103 h 344988"/>
                <a:gd name="connsiteX228" fmla="*/ 75929 w 344587"/>
                <a:gd name="connsiteY228" fmla="*/ 132864 h 344988"/>
                <a:gd name="connsiteX229" fmla="*/ 71187 w 344587"/>
                <a:gd name="connsiteY229" fmla="*/ 132007 h 344988"/>
                <a:gd name="connsiteX230" fmla="*/ 265997 w 344587"/>
                <a:gd name="connsiteY230" fmla="*/ 110188 h 344988"/>
                <a:gd name="connsiteX231" fmla="*/ 264803 w 344587"/>
                <a:gd name="connsiteY231" fmla="*/ 114963 h 344988"/>
                <a:gd name="connsiteX232" fmla="*/ 260243 w 344587"/>
                <a:gd name="connsiteY232" fmla="*/ 116665 h 344988"/>
                <a:gd name="connsiteX233" fmla="*/ 264341 w 344587"/>
                <a:gd name="connsiteY233" fmla="*/ 119299 h 344988"/>
                <a:gd name="connsiteX234" fmla="*/ 264558 w 344587"/>
                <a:gd name="connsiteY234" fmla="*/ 124212 h 344988"/>
                <a:gd name="connsiteX235" fmla="*/ 268276 w 344587"/>
                <a:gd name="connsiteY235" fmla="*/ 121083 h 344988"/>
                <a:gd name="connsiteX236" fmla="*/ 272971 w 344587"/>
                <a:gd name="connsiteY236" fmla="*/ 122401 h 344988"/>
                <a:gd name="connsiteX237" fmla="*/ 271180 w 344587"/>
                <a:gd name="connsiteY237" fmla="*/ 117845 h 344988"/>
                <a:gd name="connsiteX238" fmla="*/ 273867 w 344587"/>
                <a:gd name="connsiteY238" fmla="*/ 113756 h 344988"/>
                <a:gd name="connsiteX239" fmla="*/ 269009 w 344587"/>
                <a:gd name="connsiteY239" fmla="*/ 114057 h 344988"/>
                <a:gd name="connsiteX240" fmla="*/ 78590 w 344587"/>
                <a:gd name="connsiteY240" fmla="*/ 110188 h 344988"/>
                <a:gd name="connsiteX241" fmla="*/ 75578 w 344587"/>
                <a:gd name="connsiteY241" fmla="*/ 114057 h 344988"/>
                <a:gd name="connsiteX242" fmla="*/ 70721 w 344587"/>
                <a:gd name="connsiteY242" fmla="*/ 113756 h 344988"/>
                <a:gd name="connsiteX243" fmla="*/ 73407 w 344587"/>
                <a:gd name="connsiteY243" fmla="*/ 117845 h 344988"/>
                <a:gd name="connsiteX244" fmla="*/ 71616 w 344587"/>
                <a:gd name="connsiteY244" fmla="*/ 122401 h 344988"/>
                <a:gd name="connsiteX245" fmla="*/ 76311 w 344587"/>
                <a:gd name="connsiteY245" fmla="*/ 121083 h 344988"/>
                <a:gd name="connsiteX246" fmla="*/ 80029 w 344587"/>
                <a:gd name="connsiteY246" fmla="*/ 124212 h 344988"/>
                <a:gd name="connsiteX247" fmla="*/ 80246 w 344587"/>
                <a:gd name="connsiteY247" fmla="*/ 119299 h 344988"/>
                <a:gd name="connsiteX248" fmla="*/ 84344 w 344587"/>
                <a:gd name="connsiteY248" fmla="*/ 116665 h 344988"/>
                <a:gd name="connsiteX249" fmla="*/ 79785 w 344587"/>
                <a:gd name="connsiteY249" fmla="*/ 114963 h 344988"/>
                <a:gd name="connsiteX250" fmla="*/ 172293 w 344587"/>
                <a:gd name="connsiteY250" fmla="*/ 107507 h 344988"/>
                <a:gd name="connsiteX251" fmla="*/ 164742 w 344587"/>
                <a:gd name="connsiteY251" fmla="*/ 112163 h 344988"/>
                <a:gd name="connsiteX252" fmla="*/ 148477 w 344587"/>
                <a:gd name="connsiteY252" fmla="*/ 145335 h 344988"/>
                <a:gd name="connsiteX253" fmla="*/ 111881 w 344587"/>
                <a:gd name="connsiteY253" fmla="*/ 150766 h 344988"/>
                <a:gd name="connsiteX254" fmla="*/ 104910 w 344587"/>
                <a:gd name="connsiteY254" fmla="*/ 156392 h 344988"/>
                <a:gd name="connsiteX255" fmla="*/ 107234 w 344587"/>
                <a:gd name="connsiteY255" fmla="*/ 165121 h 344988"/>
                <a:gd name="connsiteX256" fmla="*/ 133567 w 344587"/>
                <a:gd name="connsiteY256" fmla="*/ 190922 h 344988"/>
                <a:gd name="connsiteX257" fmla="*/ 127371 w 344587"/>
                <a:gd name="connsiteY257" fmla="*/ 227392 h 344988"/>
                <a:gd name="connsiteX258" fmla="*/ 130663 w 344587"/>
                <a:gd name="connsiteY258" fmla="*/ 235733 h 344988"/>
                <a:gd name="connsiteX259" fmla="*/ 135697 w 344587"/>
                <a:gd name="connsiteY259" fmla="*/ 237479 h 344988"/>
                <a:gd name="connsiteX260" fmla="*/ 139570 w 344587"/>
                <a:gd name="connsiteY260" fmla="*/ 236509 h 344988"/>
                <a:gd name="connsiteX261" fmla="*/ 172293 w 344587"/>
                <a:gd name="connsiteY261" fmla="*/ 219244 h 344988"/>
                <a:gd name="connsiteX262" fmla="*/ 205016 w 344587"/>
                <a:gd name="connsiteY262" fmla="*/ 236509 h 344988"/>
                <a:gd name="connsiteX263" fmla="*/ 209083 w 344587"/>
                <a:gd name="connsiteY263" fmla="*/ 237479 h 344988"/>
                <a:gd name="connsiteX264" fmla="*/ 213923 w 344587"/>
                <a:gd name="connsiteY264" fmla="*/ 235733 h 344988"/>
                <a:gd name="connsiteX265" fmla="*/ 217409 w 344587"/>
                <a:gd name="connsiteY265" fmla="*/ 227392 h 344988"/>
                <a:gd name="connsiteX266" fmla="*/ 211213 w 344587"/>
                <a:gd name="connsiteY266" fmla="*/ 190922 h 344988"/>
                <a:gd name="connsiteX267" fmla="*/ 237546 w 344587"/>
                <a:gd name="connsiteY267" fmla="*/ 165121 h 344988"/>
                <a:gd name="connsiteX268" fmla="*/ 239676 w 344587"/>
                <a:gd name="connsiteY268" fmla="*/ 156392 h 344988"/>
                <a:gd name="connsiteX269" fmla="*/ 232899 w 344587"/>
                <a:gd name="connsiteY269" fmla="*/ 150766 h 344988"/>
                <a:gd name="connsiteX270" fmla="*/ 196303 w 344587"/>
                <a:gd name="connsiteY270" fmla="*/ 145335 h 344988"/>
                <a:gd name="connsiteX271" fmla="*/ 180038 w 344587"/>
                <a:gd name="connsiteY271" fmla="*/ 112163 h 344988"/>
                <a:gd name="connsiteX272" fmla="*/ 172293 w 344587"/>
                <a:gd name="connsiteY272" fmla="*/ 107507 h 344988"/>
                <a:gd name="connsiteX273" fmla="*/ 253771 w 344587"/>
                <a:gd name="connsiteY273" fmla="*/ 94962 h 344988"/>
                <a:gd name="connsiteX274" fmla="*/ 253394 w 344587"/>
                <a:gd name="connsiteY274" fmla="*/ 99795 h 344988"/>
                <a:gd name="connsiteX275" fmla="*/ 249225 w 344587"/>
                <a:gd name="connsiteY275" fmla="*/ 102225 h 344988"/>
                <a:gd name="connsiteX276" fmla="*/ 253690 w 344587"/>
                <a:gd name="connsiteY276" fmla="*/ 104061 h 344988"/>
                <a:gd name="connsiteX277" fmla="*/ 254712 w 344587"/>
                <a:gd name="connsiteY277" fmla="*/ 108785 h 344988"/>
                <a:gd name="connsiteX278" fmla="*/ 257833 w 344587"/>
                <a:gd name="connsiteY278" fmla="*/ 105114 h 344988"/>
                <a:gd name="connsiteX279" fmla="*/ 262648 w 344587"/>
                <a:gd name="connsiteY279" fmla="*/ 105573 h 344988"/>
                <a:gd name="connsiteX280" fmla="*/ 260119 w 344587"/>
                <a:gd name="connsiteY280" fmla="*/ 101469 h 344988"/>
                <a:gd name="connsiteX281" fmla="*/ 262056 w 344587"/>
                <a:gd name="connsiteY281" fmla="*/ 97041 h 344988"/>
                <a:gd name="connsiteX282" fmla="*/ 257348 w 344587"/>
                <a:gd name="connsiteY282" fmla="*/ 98175 h 344988"/>
                <a:gd name="connsiteX283" fmla="*/ 90749 w 344587"/>
                <a:gd name="connsiteY283" fmla="*/ 94962 h 344988"/>
                <a:gd name="connsiteX284" fmla="*/ 87118 w 344587"/>
                <a:gd name="connsiteY284" fmla="*/ 98175 h 344988"/>
                <a:gd name="connsiteX285" fmla="*/ 82340 w 344587"/>
                <a:gd name="connsiteY285" fmla="*/ 97041 h 344988"/>
                <a:gd name="connsiteX286" fmla="*/ 84333 w 344587"/>
                <a:gd name="connsiteY286" fmla="*/ 101469 h 344988"/>
                <a:gd name="connsiteX287" fmla="*/ 81739 w 344587"/>
                <a:gd name="connsiteY287" fmla="*/ 105573 h 344988"/>
                <a:gd name="connsiteX288" fmla="*/ 86626 w 344587"/>
                <a:gd name="connsiteY288" fmla="*/ 105114 h 344988"/>
                <a:gd name="connsiteX289" fmla="*/ 89793 w 344587"/>
                <a:gd name="connsiteY289" fmla="*/ 108785 h 344988"/>
                <a:gd name="connsiteX290" fmla="*/ 90831 w 344587"/>
                <a:gd name="connsiteY290" fmla="*/ 104061 h 344988"/>
                <a:gd name="connsiteX291" fmla="*/ 95363 w 344587"/>
                <a:gd name="connsiteY291" fmla="*/ 102225 h 344988"/>
                <a:gd name="connsiteX292" fmla="*/ 91131 w 344587"/>
                <a:gd name="connsiteY292" fmla="*/ 99795 h 344988"/>
                <a:gd name="connsiteX293" fmla="*/ 239015 w 344587"/>
                <a:gd name="connsiteY293" fmla="*/ 81940 h 344988"/>
                <a:gd name="connsiteX294" fmla="*/ 239501 w 344587"/>
                <a:gd name="connsiteY294" fmla="*/ 86827 h 344988"/>
                <a:gd name="connsiteX295" fmla="*/ 235802 w 344587"/>
                <a:gd name="connsiteY295" fmla="*/ 89993 h 344988"/>
                <a:gd name="connsiteX296" fmla="*/ 240527 w 344587"/>
                <a:gd name="connsiteY296" fmla="*/ 91031 h 344988"/>
                <a:gd name="connsiteX297" fmla="*/ 242363 w 344587"/>
                <a:gd name="connsiteY297" fmla="*/ 95563 h 344988"/>
                <a:gd name="connsiteX298" fmla="*/ 244792 w 344587"/>
                <a:gd name="connsiteY298" fmla="*/ 91331 h 344988"/>
                <a:gd name="connsiteX299" fmla="*/ 249625 w 344587"/>
                <a:gd name="connsiteY299" fmla="*/ 90976 h 344988"/>
                <a:gd name="connsiteX300" fmla="*/ 246413 w 344587"/>
                <a:gd name="connsiteY300" fmla="*/ 87318 h 344988"/>
                <a:gd name="connsiteX301" fmla="*/ 247546 w 344587"/>
                <a:gd name="connsiteY301" fmla="*/ 82568 h 344988"/>
                <a:gd name="connsiteX302" fmla="*/ 243119 w 344587"/>
                <a:gd name="connsiteY302" fmla="*/ 84533 h 344988"/>
                <a:gd name="connsiteX303" fmla="*/ 105372 w 344587"/>
                <a:gd name="connsiteY303" fmla="*/ 81940 h 344988"/>
                <a:gd name="connsiteX304" fmla="*/ 101268 w 344587"/>
                <a:gd name="connsiteY304" fmla="*/ 84533 h 344988"/>
                <a:gd name="connsiteX305" fmla="*/ 96841 w 344587"/>
                <a:gd name="connsiteY305" fmla="*/ 82568 h 344988"/>
                <a:gd name="connsiteX306" fmla="*/ 97975 w 344587"/>
                <a:gd name="connsiteY306" fmla="*/ 87318 h 344988"/>
                <a:gd name="connsiteX307" fmla="*/ 94762 w 344587"/>
                <a:gd name="connsiteY307" fmla="*/ 90976 h 344988"/>
                <a:gd name="connsiteX308" fmla="*/ 99594 w 344587"/>
                <a:gd name="connsiteY308" fmla="*/ 91331 h 344988"/>
                <a:gd name="connsiteX309" fmla="*/ 102024 w 344587"/>
                <a:gd name="connsiteY309" fmla="*/ 95563 h 344988"/>
                <a:gd name="connsiteX310" fmla="*/ 103860 w 344587"/>
                <a:gd name="connsiteY310" fmla="*/ 91031 h 344988"/>
                <a:gd name="connsiteX311" fmla="*/ 108585 w 344587"/>
                <a:gd name="connsiteY311" fmla="*/ 89993 h 344988"/>
                <a:gd name="connsiteX312" fmla="*/ 104886 w 344587"/>
                <a:gd name="connsiteY312" fmla="*/ 86827 h 344988"/>
                <a:gd name="connsiteX313" fmla="*/ 230910 w 344587"/>
                <a:gd name="connsiteY313" fmla="*/ 70720 h 344988"/>
                <a:gd name="connsiteX314" fmla="*/ 226879 w 344587"/>
                <a:gd name="connsiteY314" fmla="*/ 73474 h 344988"/>
                <a:gd name="connsiteX315" fmla="*/ 222361 w 344587"/>
                <a:gd name="connsiteY315" fmla="*/ 71629 h 344988"/>
                <a:gd name="connsiteX316" fmla="*/ 223687 w 344587"/>
                <a:gd name="connsiteY316" fmla="*/ 76393 h 344988"/>
                <a:gd name="connsiteX317" fmla="*/ 220576 w 344587"/>
                <a:gd name="connsiteY317" fmla="*/ 80193 h 344988"/>
                <a:gd name="connsiteX318" fmla="*/ 225418 w 344587"/>
                <a:gd name="connsiteY318" fmla="*/ 80386 h 344988"/>
                <a:gd name="connsiteX319" fmla="*/ 228015 w 344587"/>
                <a:gd name="connsiteY319" fmla="*/ 84544 h 344988"/>
                <a:gd name="connsiteX320" fmla="*/ 229692 w 344587"/>
                <a:gd name="connsiteY320" fmla="*/ 79918 h 344988"/>
                <a:gd name="connsiteX321" fmla="*/ 234399 w 344587"/>
                <a:gd name="connsiteY321" fmla="*/ 78706 h 344988"/>
                <a:gd name="connsiteX322" fmla="*/ 230585 w 344587"/>
                <a:gd name="connsiteY322" fmla="*/ 75650 h 344988"/>
                <a:gd name="connsiteX323" fmla="*/ 113678 w 344587"/>
                <a:gd name="connsiteY323" fmla="*/ 70720 h 344988"/>
                <a:gd name="connsiteX324" fmla="*/ 114002 w 344587"/>
                <a:gd name="connsiteY324" fmla="*/ 75650 h 344988"/>
                <a:gd name="connsiteX325" fmla="*/ 110188 w 344587"/>
                <a:gd name="connsiteY325" fmla="*/ 78706 h 344988"/>
                <a:gd name="connsiteX326" fmla="*/ 114895 w 344587"/>
                <a:gd name="connsiteY326" fmla="*/ 79918 h 344988"/>
                <a:gd name="connsiteX327" fmla="*/ 116572 w 344587"/>
                <a:gd name="connsiteY327" fmla="*/ 84544 h 344988"/>
                <a:gd name="connsiteX328" fmla="*/ 119169 w 344587"/>
                <a:gd name="connsiteY328" fmla="*/ 80386 h 344988"/>
                <a:gd name="connsiteX329" fmla="*/ 124011 w 344587"/>
                <a:gd name="connsiteY329" fmla="*/ 80193 h 344988"/>
                <a:gd name="connsiteX330" fmla="*/ 120900 w 344587"/>
                <a:gd name="connsiteY330" fmla="*/ 76393 h 344988"/>
                <a:gd name="connsiteX331" fmla="*/ 122226 w 344587"/>
                <a:gd name="connsiteY331" fmla="*/ 71629 h 344988"/>
                <a:gd name="connsiteX332" fmla="*/ 117708 w 344587"/>
                <a:gd name="connsiteY332" fmla="*/ 73474 h 344988"/>
                <a:gd name="connsiteX333" fmla="*/ 212334 w 344587"/>
                <a:gd name="connsiteY333" fmla="*/ 62106 h 344988"/>
                <a:gd name="connsiteX334" fmla="*/ 208828 w 344587"/>
                <a:gd name="connsiteY334" fmla="*/ 65489 h 344988"/>
                <a:gd name="connsiteX335" fmla="*/ 204046 w 344587"/>
                <a:gd name="connsiteY335" fmla="*/ 64507 h 344988"/>
                <a:gd name="connsiteX336" fmla="*/ 206165 w 344587"/>
                <a:gd name="connsiteY336" fmla="*/ 68900 h 344988"/>
                <a:gd name="connsiteX337" fmla="*/ 203747 w 344587"/>
                <a:gd name="connsiteY337" fmla="*/ 73156 h 344988"/>
                <a:gd name="connsiteX338" fmla="*/ 208584 w 344587"/>
                <a:gd name="connsiteY338" fmla="*/ 72501 h 344988"/>
                <a:gd name="connsiteX339" fmla="*/ 211844 w 344587"/>
                <a:gd name="connsiteY339" fmla="*/ 76130 h 344988"/>
                <a:gd name="connsiteX340" fmla="*/ 212714 w 344587"/>
                <a:gd name="connsiteY340" fmla="*/ 71301 h 344988"/>
                <a:gd name="connsiteX341" fmla="*/ 217170 w 344587"/>
                <a:gd name="connsiteY341" fmla="*/ 69282 h 344988"/>
                <a:gd name="connsiteX342" fmla="*/ 212877 w 344587"/>
                <a:gd name="connsiteY342" fmla="*/ 66962 h 344988"/>
                <a:gd name="connsiteX343" fmla="*/ 132182 w 344587"/>
                <a:gd name="connsiteY343" fmla="*/ 62106 h 344988"/>
                <a:gd name="connsiteX344" fmla="*/ 131646 w 344587"/>
                <a:gd name="connsiteY344" fmla="*/ 66962 h 344988"/>
                <a:gd name="connsiteX345" fmla="*/ 127417 w 344587"/>
                <a:gd name="connsiteY345" fmla="*/ 69282 h 344988"/>
                <a:gd name="connsiteX346" fmla="*/ 131807 w 344587"/>
                <a:gd name="connsiteY346" fmla="*/ 71301 h 344988"/>
                <a:gd name="connsiteX347" fmla="*/ 132663 w 344587"/>
                <a:gd name="connsiteY347" fmla="*/ 76130 h 344988"/>
                <a:gd name="connsiteX348" fmla="*/ 135875 w 344587"/>
                <a:gd name="connsiteY348" fmla="*/ 72501 h 344988"/>
                <a:gd name="connsiteX349" fmla="*/ 140640 w 344587"/>
                <a:gd name="connsiteY349" fmla="*/ 73156 h 344988"/>
                <a:gd name="connsiteX350" fmla="*/ 138258 w 344587"/>
                <a:gd name="connsiteY350" fmla="*/ 68900 h 344988"/>
                <a:gd name="connsiteX351" fmla="*/ 140345 w 344587"/>
                <a:gd name="connsiteY351" fmla="*/ 64507 h 344988"/>
                <a:gd name="connsiteX352" fmla="*/ 135635 w 344587"/>
                <a:gd name="connsiteY352" fmla="*/ 65489 h 344988"/>
                <a:gd name="connsiteX353" fmla="*/ 192615 w 344587"/>
                <a:gd name="connsiteY353" fmla="*/ 56897 h 344988"/>
                <a:gd name="connsiteX354" fmla="*/ 189761 w 344587"/>
                <a:gd name="connsiteY354" fmla="*/ 60835 h 344988"/>
                <a:gd name="connsiteX355" fmla="*/ 184915 w 344587"/>
                <a:gd name="connsiteY355" fmla="*/ 60672 h 344988"/>
                <a:gd name="connsiteX356" fmla="*/ 187742 w 344587"/>
                <a:gd name="connsiteY356" fmla="*/ 64637 h 344988"/>
                <a:gd name="connsiteX357" fmla="*/ 186127 w 344587"/>
                <a:gd name="connsiteY357" fmla="*/ 69227 h 344988"/>
                <a:gd name="connsiteX358" fmla="*/ 190704 w 344587"/>
                <a:gd name="connsiteY358" fmla="*/ 67733 h 344988"/>
                <a:gd name="connsiteX359" fmla="*/ 194527 w 344587"/>
                <a:gd name="connsiteY359" fmla="*/ 70720 h 344988"/>
                <a:gd name="connsiteX360" fmla="*/ 194554 w 344587"/>
                <a:gd name="connsiteY360" fmla="*/ 65832 h 344988"/>
                <a:gd name="connsiteX361" fmla="*/ 198538 w 344587"/>
                <a:gd name="connsiteY361" fmla="*/ 63089 h 344988"/>
                <a:gd name="connsiteX362" fmla="*/ 193961 w 344587"/>
                <a:gd name="connsiteY362" fmla="*/ 61568 h 344988"/>
                <a:gd name="connsiteX363" fmla="*/ 151859 w 344587"/>
                <a:gd name="connsiteY363" fmla="*/ 56897 h 344988"/>
                <a:gd name="connsiteX364" fmla="*/ 150493 w 344587"/>
                <a:gd name="connsiteY364" fmla="*/ 61568 h 344988"/>
                <a:gd name="connsiteX365" fmla="*/ 145849 w 344587"/>
                <a:gd name="connsiteY365" fmla="*/ 63089 h 344988"/>
                <a:gd name="connsiteX366" fmla="*/ 149892 w 344587"/>
                <a:gd name="connsiteY366" fmla="*/ 65832 h 344988"/>
                <a:gd name="connsiteX367" fmla="*/ 149919 w 344587"/>
                <a:gd name="connsiteY367" fmla="*/ 70720 h 344988"/>
                <a:gd name="connsiteX368" fmla="*/ 153798 w 344587"/>
                <a:gd name="connsiteY368" fmla="*/ 67733 h 344988"/>
                <a:gd name="connsiteX369" fmla="*/ 158443 w 344587"/>
                <a:gd name="connsiteY369" fmla="*/ 69227 h 344988"/>
                <a:gd name="connsiteX370" fmla="*/ 156804 w 344587"/>
                <a:gd name="connsiteY370" fmla="*/ 64637 h 344988"/>
                <a:gd name="connsiteX371" fmla="*/ 159672 w 344587"/>
                <a:gd name="connsiteY371" fmla="*/ 60672 h 344988"/>
                <a:gd name="connsiteX372" fmla="*/ 154755 w 344587"/>
                <a:gd name="connsiteY372" fmla="*/ 60835 h 344988"/>
                <a:gd name="connsiteX373" fmla="*/ 172307 w 344587"/>
                <a:gd name="connsiteY373" fmla="*/ 55094 h 344988"/>
                <a:gd name="connsiteX374" fmla="*/ 170121 w 344587"/>
                <a:gd name="connsiteY374" fmla="*/ 59447 h 344988"/>
                <a:gd name="connsiteX375" fmla="*/ 165282 w 344587"/>
                <a:gd name="connsiteY375" fmla="*/ 60150 h 344988"/>
                <a:gd name="connsiteX376" fmla="*/ 168781 w 344587"/>
                <a:gd name="connsiteY376" fmla="*/ 63530 h 344988"/>
                <a:gd name="connsiteX377" fmla="*/ 167961 w 344587"/>
                <a:gd name="connsiteY377" fmla="*/ 68316 h 344988"/>
                <a:gd name="connsiteX378" fmla="*/ 172307 w 344587"/>
                <a:gd name="connsiteY378" fmla="*/ 66045 h 344988"/>
                <a:gd name="connsiteX379" fmla="*/ 176627 w 344587"/>
                <a:gd name="connsiteY379" fmla="*/ 68316 h 344988"/>
                <a:gd name="connsiteX380" fmla="*/ 175806 w 344587"/>
                <a:gd name="connsiteY380" fmla="*/ 63530 h 344988"/>
                <a:gd name="connsiteX381" fmla="*/ 179306 w 344587"/>
                <a:gd name="connsiteY381" fmla="*/ 60150 h 344988"/>
                <a:gd name="connsiteX382" fmla="*/ 174467 w 344587"/>
                <a:gd name="connsiteY382" fmla="*/ 59447 h 344988"/>
                <a:gd name="connsiteX383" fmla="*/ 171615 w 344587"/>
                <a:gd name="connsiteY383" fmla="*/ 48293 h 344988"/>
                <a:gd name="connsiteX384" fmla="*/ 293719 w 344587"/>
                <a:gd name="connsiteY384" fmla="*/ 170398 h 344988"/>
                <a:gd name="connsiteX385" fmla="*/ 171615 w 344587"/>
                <a:gd name="connsiteY385" fmla="*/ 292503 h 344988"/>
                <a:gd name="connsiteX386" fmla="*/ 49510 w 344587"/>
                <a:gd name="connsiteY386" fmla="*/ 170398 h 344988"/>
                <a:gd name="connsiteX387" fmla="*/ 171615 w 344587"/>
                <a:gd name="connsiteY387" fmla="*/ 48293 h 344988"/>
                <a:gd name="connsiteX388" fmla="*/ 171615 w 344587"/>
                <a:gd name="connsiteY388" fmla="*/ 34348 h 344988"/>
                <a:gd name="connsiteX389" fmla="*/ 35565 w 344587"/>
                <a:gd name="connsiteY389" fmla="*/ 170398 h 344988"/>
                <a:gd name="connsiteX390" fmla="*/ 171615 w 344587"/>
                <a:gd name="connsiteY390" fmla="*/ 306448 h 344988"/>
                <a:gd name="connsiteX391" fmla="*/ 307665 w 344587"/>
                <a:gd name="connsiteY391" fmla="*/ 170398 h 344988"/>
                <a:gd name="connsiteX392" fmla="*/ 171615 w 344587"/>
                <a:gd name="connsiteY392" fmla="*/ 34348 h 344988"/>
                <a:gd name="connsiteX393" fmla="*/ 172307 w 344587"/>
                <a:gd name="connsiteY393" fmla="*/ 0 h 344988"/>
                <a:gd name="connsiteX394" fmla="*/ 212700 w 344587"/>
                <a:gd name="connsiteY394" fmla="*/ 21468 h 344988"/>
                <a:gd name="connsiteX395" fmla="*/ 258434 w 344587"/>
                <a:gd name="connsiteY395" fmla="*/ 23124 h 344988"/>
                <a:gd name="connsiteX396" fmla="*/ 282724 w 344587"/>
                <a:gd name="connsiteY396" fmla="*/ 61936 h 344988"/>
                <a:gd name="connsiteX397" fmla="*/ 321490 w 344587"/>
                <a:gd name="connsiteY397" fmla="*/ 86254 h 344988"/>
                <a:gd name="connsiteX398" fmla="*/ 323144 w 344587"/>
                <a:gd name="connsiteY398" fmla="*/ 132040 h 344988"/>
                <a:gd name="connsiteX399" fmla="*/ 344587 w 344587"/>
                <a:gd name="connsiteY399" fmla="*/ 172508 h 344988"/>
                <a:gd name="connsiteX400" fmla="*/ 323144 w 344587"/>
                <a:gd name="connsiteY400" fmla="*/ 212975 h 344988"/>
                <a:gd name="connsiteX401" fmla="*/ 321490 w 344587"/>
                <a:gd name="connsiteY401" fmla="*/ 258734 h 344988"/>
                <a:gd name="connsiteX402" fmla="*/ 282724 w 344587"/>
                <a:gd name="connsiteY402" fmla="*/ 283052 h 344988"/>
                <a:gd name="connsiteX403" fmla="*/ 258434 w 344587"/>
                <a:gd name="connsiteY403" fmla="*/ 321891 h 344988"/>
                <a:gd name="connsiteX404" fmla="*/ 212700 w 344587"/>
                <a:gd name="connsiteY404" fmla="*/ 323520 h 344988"/>
                <a:gd name="connsiteX405" fmla="*/ 172307 w 344587"/>
                <a:gd name="connsiteY405" fmla="*/ 344988 h 344988"/>
                <a:gd name="connsiteX406" fmla="*/ 131887 w 344587"/>
                <a:gd name="connsiteY406" fmla="*/ 323520 h 344988"/>
                <a:gd name="connsiteX407" fmla="*/ 86154 w 344587"/>
                <a:gd name="connsiteY407" fmla="*/ 321891 h 344988"/>
                <a:gd name="connsiteX408" fmla="*/ 61864 w 344587"/>
                <a:gd name="connsiteY408" fmla="*/ 283052 h 344988"/>
                <a:gd name="connsiteX409" fmla="*/ 23097 w 344587"/>
                <a:gd name="connsiteY409" fmla="*/ 258734 h 344988"/>
                <a:gd name="connsiteX410" fmla="*/ 21444 w 344587"/>
                <a:gd name="connsiteY410" fmla="*/ 212975 h 344988"/>
                <a:gd name="connsiteX411" fmla="*/ 0 w 344587"/>
                <a:gd name="connsiteY411" fmla="*/ 172508 h 344988"/>
                <a:gd name="connsiteX412" fmla="*/ 21444 w 344587"/>
                <a:gd name="connsiteY412" fmla="*/ 132040 h 344988"/>
                <a:gd name="connsiteX413" fmla="*/ 23097 w 344587"/>
                <a:gd name="connsiteY413" fmla="*/ 86254 h 344988"/>
                <a:gd name="connsiteX414" fmla="*/ 61864 w 344587"/>
                <a:gd name="connsiteY414" fmla="*/ 61936 h 344988"/>
                <a:gd name="connsiteX415" fmla="*/ 86154 w 344587"/>
                <a:gd name="connsiteY415" fmla="*/ 23124 h 344988"/>
                <a:gd name="connsiteX416" fmla="*/ 131887 w 344587"/>
                <a:gd name="connsiteY416" fmla="*/ 21468 h 344988"/>
                <a:gd name="connsiteX417" fmla="*/ 172307 w 344587"/>
                <a:gd name="connsiteY417" fmla="*/ 0 h 3449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</a:cxnLst>
              <a:rect l="l" t="t" r="r" b="b"/>
              <a:pathLst>
                <a:path w="344587" h="344988">
                  <a:moveTo>
                    <a:pt x="167961" y="276672"/>
                  </a:moveTo>
                  <a:lnTo>
                    <a:pt x="168781" y="281441"/>
                  </a:lnTo>
                  <a:lnTo>
                    <a:pt x="165282" y="284827"/>
                  </a:lnTo>
                  <a:lnTo>
                    <a:pt x="170121" y="285532"/>
                  </a:lnTo>
                  <a:lnTo>
                    <a:pt x="172307" y="289894"/>
                  </a:lnTo>
                  <a:lnTo>
                    <a:pt x="174467" y="285532"/>
                  </a:lnTo>
                  <a:lnTo>
                    <a:pt x="179306" y="284827"/>
                  </a:lnTo>
                  <a:lnTo>
                    <a:pt x="175806" y="281441"/>
                  </a:lnTo>
                  <a:lnTo>
                    <a:pt x="176627" y="276672"/>
                  </a:lnTo>
                  <a:lnTo>
                    <a:pt x="172307" y="278921"/>
                  </a:lnTo>
                  <a:close/>
                  <a:moveTo>
                    <a:pt x="194527" y="274468"/>
                  </a:moveTo>
                  <a:lnTo>
                    <a:pt x="190704" y="277391"/>
                  </a:lnTo>
                  <a:lnTo>
                    <a:pt x="186127" y="275943"/>
                  </a:lnTo>
                  <a:lnTo>
                    <a:pt x="187742" y="280475"/>
                  </a:lnTo>
                  <a:lnTo>
                    <a:pt x="184915" y="284363"/>
                  </a:lnTo>
                  <a:lnTo>
                    <a:pt x="189761" y="284229"/>
                  </a:lnTo>
                  <a:lnTo>
                    <a:pt x="192615" y="288091"/>
                  </a:lnTo>
                  <a:lnTo>
                    <a:pt x="193961" y="283479"/>
                  </a:lnTo>
                  <a:lnTo>
                    <a:pt x="198538" y="281977"/>
                  </a:lnTo>
                  <a:lnTo>
                    <a:pt x="194554" y="279268"/>
                  </a:lnTo>
                  <a:close/>
                  <a:moveTo>
                    <a:pt x="149919" y="274468"/>
                  </a:moveTo>
                  <a:lnTo>
                    <a:pt x="149892" y="279268"/>
                  </a:lnTo>
                  <a:lnTo>
                    <a:pt x="145849" y="281977"/>
                  </a:lnTo>
                  <a:lnTo>
                    <a:pt x="150493" y="283479"/>
                  </a:lnTo>
                  <a:lnTo>
                    <a:pt x="151859" y="288091"/>
                  </a:lnTo>
                  <a:lnTo>
                    <a:pt x="154755" y="284229"/>
                  </a:lnTo>
                  <a:lnTo>
                    <a:pt x="159672" y="284363"/>
                  </a:lnTo>
                  <a:lnTo>
                    <a:pt x="156804" y="280475"/>
                  </a:lnTo>
                  <a:lnTo>
                    <a:pt x="158443" y="275943"/>
                  </a:lnTo>
                  <a:lnTo>
                    <a:pt x="153798" y="277391"/>
                  </a:lnTo>
                  <a:close/>
                  <a:moveTo>
                    <a:pt x="211844" y="268858"/>
                  </a:moveTo>
                  <a:lnTo>
                    <a:pt x="208584" y="272467"/>
                  </a:lnTo>
                  <a:lnTo>
                    <a:pt x="203747" y="271811"/>
                  </a:lnTo>
                  <a:lnTo>
                    <a:pt x="206165" y="276075"/>
                  </a:lnTo>
                  <a:lnTo>
                    <a:pt x="204046" y="280504"/>
                  </a:lnTo>
                  <a:lnTo>
                    <a:pt x="208828" y="279492"/>
                  </a:lnTo>
                  <a:lnTo>
                    <a:pt x="212334" y="282882"/>
                  </a:lnTo>
                  <a:lnTo>
                    <a:pt x="212877" y="278016"/>
                  </a:lnTo>
                  <a:lnTo>
                    <a:pt x="217170" y="275693"/>
                  </a:lnTo>
                  <a:lnTo>
                    <a:pt x="212714" y="273670"/>
                  </a:lnTo>
                  <a:close/>
                  <a:moveTo>
                    <a:pt x="132663" y="268858"/>
                  </a:moveTo>
                  <a:lnTo>
                    <a:pt x="131807" y="273670"/>
                  </a:lnTo>
                  <a:lnTo>
                    <a:pt x="127417" y="275693"/>
                  </a:lnTo>
                  <a:lnTo>
                    <a:pt x="131646" y="278016"/>
                  </a:lnTo>
                  <a:lnTo>
                    <a:pt x="132182" y="282882"/>
                  </a:lnTo>
                  <a:lnTo>
                    <a:pt x="135635" y="279492"/>
                  </a:lnTo>
                  <a:lnTo>
                    <a:pt x="140345" y="280504"/>
                  </a:lnTo>
                  <a:lnTo>
                    <a:pt x="138258" y="276075"/>
                  </a:lnTo>
                  <a:lnTo>
                    <a:pt x="140640" y="271811"/>
                  </a:lnTo>
                  <a:lnTo>
                    <a:pt x="135875" y="272467"/>
                  </a:lnTo>
                  <a:close/>
                  <a:moveTo>
                    <a:pt x="228015" y="260644"/>
                  </a:moveTo>
                  <a:lnTo>
                    <a:pt x="225418" y="264769"/>
                  </a:lnTo>
                  <a:lnTo>
                    <a:pt x="220576" y="264959"/>
                  </a:lnTo>
                  <a:lnTo>
                    <a:pt x="223687" y="268704"/>
                  </a:lnTo>
                  <a:lnTo>
                    <a:pt x="222361" y="273372"/>
                  </a:lnTo>
                  <a:lnTo>
                    <a:pt x="226879" y="271581"/>
                  </a:lnTo>
                  <a:lnTo>
                    <a:pt x="230910" y="274268"/>
                  </a:lnTo>
                  <a:lnTo>
                    <a:pt x="230585" y="269410"/>
                  </a:lnTo>
                  <a:lnTo>
                    <a:pt x="234399" y="266398"/>
                  </a:lnTo>
                  <a:lnTo>
                    <a:pt x="229692" y="265204"/>
                  </a:lnTo>
                  <a:close/>
                  <a:moveTo>
                    <a:pt x="116572" y="260644"/>
                  </a:moveTo>
                  <a:lnTo>
                    <a:pt x="114895" y="265204"/>
                  </a:lnTo>
                  <a:lnTo>
                    <a:pt x="110188" y="266398"/>
                  </a:lnTo>
                  <a:lnTo>
                    <a:pt x="114002" y="269410"/>
                  </a:lnTo>
                  <a:lnTo>
                    <a:pt x="113678" y="274268"/>
                  </a:lnTo>
                  <a:lnTo>
                    <a:pt x="117708" y="271581"/>
                  </a:lnTo>
                  <a:lnTo>
                    <a:pt x="122226" y="273372"/>
                  </a:lnTo>
                  <a:lnTo>
                    <a:pt x="120900" y="268704"/>
                  </a:lnTo>
                  <a:lnTo>
                    <a:pt x="124011" y="264959"/>
                  </a:lnTo>
                  <a:lnTo>
                    <a:pt x="119169" y="264769"/>
                  </a:lnTo>
                  <a:close/>
                  <a:moveTo>
                    <a:pt x="242363" y="249625"/>
                  </a:moveTo>
                  <a:lnTo>
                    <a:pt x="240527" y="254100"/>
                  </a:lnTo>
                  <a:lnTo>
                    <a:pt x="235802" y="255124"/>
                  </a:lnTo>
                  <a:lnTo>
                    <a:pt x="239501" y="258251"/>
                  </a:lnTo>
                  <a:lnTo>
                    <a:pt x="239015" y="263048"/>
                  </a:lnTo>
                  <a:lnTo>
                    <a:pt x="243119" y="260515"/>
                  </a:lnTo>
                  <a:lnTo>
                    <a:pt x="247546" y="262455"/>
                  </a:lnTo>
                  <a:lnTo>
                    <a:pt x="246413" y="257766"/>
                  </a:lnTo>
                  <a:lnTo>
                    <a:pt x="249625" y="254154"/>
                  </a:lnTo>
                  <a:lnTo>
                    <a:pt x="244792" y="253776"/>
                  </a:lnTo>
                  <a:close/>
                  <a:moveTo>
                    <a:pt x="102024" y="249625"/>
                  </a:moveTo>
                  <a:lnTo>
                    <a:pt x="99594" y="253776"/>
                  </a:lnTo>
                  <a:lnTo>
                    <a:pt x="94762" y="254154"/>
                  </a:lnTo>
                  <a:lnTo>
                    <a:pt x="97975" y="257766"/>
                  </a:lnTo>
                  <a:lnTo>
                    <a:pt x="96841" y="262455"/>
                  </a:lnTo>
                  <a:lnTo>
                    <a:pt x="101268" y="260515"/>
                  </a:lnTo>
                  <a:lnTo>
                    <a:pt x="105372" y="263048"/>
                  </a:lnTo>
                  <a:lnTo>
                    <a:pt x="104886" y="258251"/>
                  </a:lnTo>
                  <a:lnTo>
                    <a:pt x="108585" y="255124"/>
                  </a:lnTo>
                  <a:lnTo>
                    <a:pt x="103860" y="254100"/>
                  </a:lnTo>
                  <a:close/>
                  <a:moveTo>
                    <a:pt x="254712" y="236203"/>
                  </a:moveTo>
                  <a:lnTo>
                    <a:pt x="253690" y="240928"/>
                  </a:lnTo>
                  <a:lnTo>
                    <a:pt x="249225" y="242764"/>
                  </a:lnTo>
                  <a:lnTo>
                    <a:pt x="253394" y="245220"/>
                  </a:lnTo>
                  <a:lnTo>
                    <a:pt x="253771" y="250026"/>
                  </a:lnTo>
                  <a:lnTo>
                    <a:pt x="257348" y="246813"/>
                  </a:lnTo>
                  <a:lnTo>
                    <a:pt x="262056" y="247974"/>
                  </a:lnTo>
                  <a:lnTo>
                    <a:pt x="260119" y="243520"/>
                  </a:lnTo>
                  <a:lnTo>
                    <a:pt x="262648" y="239416"/>
                  </a:lnTo>
                  <a:lnTo>
                    <a:pt x="257833" y="239902"/>
                  </a:lnTo>
                  <a:close/>
                  <a:moveTo>
                    <a:pt x="89793" y="236203"/>
                  </a:moveTo>
                  <a:lnTo>
                    <a:pt x="86626" y="239902"/>
                  </a:lnTo>
                  <a:lnTo>
                    <a:pt x="81739" y="239416"/>
                  </a:lnTo>
                  <a:lnTo>
                    <a:pt x="84333" y="243520"/>
                  </a:lnTo>
                  <a:lnTo>
                    <a:pt x="82340" y="247974"/>
                  </a:lnTo>
                  <a:lnTo>
                    <a:pt x="87118" y="246813"/>
                  </a:lnTo>
                  <a:lnTo>
                    <a:pt x="90749" y="250026"/>
                  </a:lnTo>
                  <a:lnTo>
                    <a:pt x="91131" y="245220"/>
                  </a:lnTo>
                  <a:lnTo>
                    <a:pt x="95363" y="242764"/>
                  </a:lnTo>
                  <a:lnTo>
                    <a:pt x="90831" y="240928"/>
                  </a:lnTo>
                  <a:close/>
                  <a:moveTo>
                    <a:pt x="264558" y="220977"/>
                  </a:moveTo>
                  <a:lnTo>
                    <a:pt x="264341" y="225819"/>
                  </a:lnTo>
                  <a:lnTo>
                    <a:pt x="260243" y="228416"/>
                  </a:lnTo>
                  <a:lnTo>
                    <a:pt x="264803" y="230093"/>
                  </a:lnTo>
                  <a:lnTo>
                    <a:pt x="265997" y="234800"/>
                  </a:lnTo>
                  <a:lnTo>
                    <a:pt x="269009" y="230986"/>
                  </a:lnTo>
                  <a:lnTo>
                    <a:pt x="273867" y="231311"/>
                  </a:lnTo>
                  <a:lnTo>
                    <a:pt x="271180" y="227280"/>
                  </a:lnTo>
                  <a:lnTo>
                    <a:pt x="272971" y="222762"/>
                  </a:lnTo>
                  <a:lnTo>
                    <a:pt x="268276" y="224088"/>
                  </a:lnTo>
                  <a:close/>
                  <a:moveTo>
                    <a:pt x="80029" y="220977"/>
                  </a:moveTo>
                  <a:lnTo>
                    <a:pt x="76311" y="224088"/>
                  </a:lnTo>
                  <a:lnTo>
                    <a:pt x="71616" y="222762"/>
                  </a:lnTo>
                  <a:lnTo>
                    <a:pt x="73407" y="227280"/>
                  </a:lnTo>
                  <a:lnTo>
                    <a:pt x="70721" y="231311"/>
                  </a:lnTo>
                  <a:lnTo>
                    <a:pt x="75578" y="230986"/>
                  </a:lnTo>
                  <a:lnTo>
                    <a:pt x="78590" y="234800"/>
                  </a:lnTo>
                  <a:lnTo>
                    <a:pt x="79785" y="230093"/>
                  </a:lnTo>
                  <a:lnTo>
                    <a:pt x="84344" y="228416"/>
                  </a:lnTo>
                  <a:lnTo>
                    <a:pt x="80246" y="225819"/>
                  </a:lnTo>
                  <a:close/>
                  <a:moveTo>
                    <a:pt x="271410" y="204148"/>
                  </a:moveTo>
                  <a:lnTo>
                    <a:pt x="272066" y="208985"/>
                  </a:lnTo>
                  <a:lnTo>
                    <a:pt x="268457" y="212245"/>
                  </a:lnTo>
                  <a:lnTo>
                    <a:pt x="273269" y="213115"/>
                  </a:lnTo>
                  <a:lnTo>
                    <a:pt x="275292" y="217571"/>
                  </a:lnTo>
                  <a:lnTo>
                    <a:pt x="277615" y="213278"/>
                  </a:lnTo>
                  <a:lnTo>
                    <a:pt x="282481" y="212734"/>
                  </a:lnTo>
                  <a:lnTo>
                    <a:pt x="279091" y="209229"/>
                  </a:lnTo>
                  <a:lnTo>
                    <a:pt x="280076" y="204447"/>
                  </a:lnTo>
                  <a:lnTo>
                    <a:pt x="275674" y="206566"/>
                  </a:lnTo>
                  <a:close/>
                  <a:moveTo>
                    <a:pt x="73019" y="204148"/>
                  </a:moveTo>
                  <a:lnTo>
                    <a:pt x="68816" y="206566"/>
                  </a:lnTo>
                  <a:lnTo>
                    <a:pt x="64477" y="204447"/>
                  </a:lnTo>
                  <a:lnTo>
                    <a:pt x="65447" y="209229"/>
                  </a:lnTo>
                  <a:lnTo>
                    <a:pt x="62106" y="212734"/>
                  </a:lnTo>
                  <a:lnTo>
                    <a:pt x="66903" y="213278"/>
                  </a:lnTo>
                  <a:lnTo>
                    <a:pt x="69193" y="217571"/>
                  </a:lnTo>
                  <a:lnTo>
                    <a:pt x="71187" y="213115"/>
                  </a:lnTo>
                  <a:lnTo>
                    <a:pt x="75929" y="212245"/>
                  </a:lnTo>
                  <a:lnTo>
                    <a:pt x="72373" y="208985"/>
                  </a:lnTo>
                  <a:close/>
                  <a:moveTo>
                    <a:pt x="283915" y="185116"/>
                  </a:moveTo>
                  <a:lnTo>
                    <a:pt x="279950" y="187963"/>
                  </a:lnTo>
                  <a:lnTo>
                    <a:pt x="275388" y="186320"/>
                  </a:lnTo>
                  <a:lnTo>
                    <a:pt x="276854" y="191001"/>
                  </a:lnTo>
                  <a:lnTo>
                    <a:pt x="273867" y="194861"/>
                  </a:lnTo>
                  <a:lnTo>
                    <a:pt x="278755" y="194888"/>
                  </a:lnTo>
                  <a:lnTo>
                    <a:pt x="281498" y="198939"/>
                  </a:lnTo>
                  <a:lnTo>
                    <a:pt x="283019" y="194286"/>
                  </a:lnTo>
                  <a:lnTo>
                    <a:pt x="287690" y="192917"/>
                  </a:lnTo>
                  <a:lnTo>
                    <a:pt x="283780" y="190015"/>
                  </a:lnTo>
                  <a:close/>
                  <a:moveTo>
                    <a:pt x="60472" y="185116"/>
                  </a:moveTo>
                  <a:lnTo>
                    <a:pt x="60608" y="190015"/>
                  </a:lnTo>
                  <a:lnTo>
                    <a:pt x="56697" y="192917"/>
                  </a:lnTo>
                  <a:lnTo>
                    <a:pt x="61368" y="194286"/>
                  </a:lnTo>
                  <a:lnTo>
                    <a:pt x="62889" y="198939"/>
                  </a:lnTo>
                  <a:lnTo>
                    <a:pt x="65632" y="194888"/>
                  </a:lnTo>
                  <a:lnTo>
                    <a:pt x="70520" y="194861"/>
                  </a:lnTo>
                  <a:lnTo>
                    <a:pt x="67533" y="191001"/>
                  </a:lnTo>
                  <a:lnTo>
                    <a:pt x="68999" y="186320"/>
                  </a:lnTo>
                  <a:lnTo>
                    <a:pt x="64437" y="187963"/>
                  </a:lnTo>
                  <a:close/>
                  <a:moveTo>
                    <a:pt x="284437" y="165482"/>
                  </a:moveTo>
                  <a:lnTo>
                    <a:pt x="281057" y="168981"/>
                  </a:lnTo>
                  <a:lnTo>
                    <a:pt x="276271" y="168161"/>
                  </a:lnTo>
                  <a:lnTo>
                    <a:pt x="278542" y="172508"/>
                  </a:lnTo>
                  <a:lnTo>
                    <a:pt x="276271" y="176827"/>
                  </a:lnTo>
                  <a:lnTo>
                    <a:pt x="281057" y="176007"/>
                  </a:lnTo>
                  <a:lnTo>
                    <a:pt x="284437" y="179506"/>
                  </a:lnTo>
                  <a:lnTo>
                    <a:pt x="285140" y="174667"/>
                  </a:lnTo>
                  <a:lnTo>
                    <a:pt x="289493" y="172508"/>
                  </a:lnTo>
                  <a:lnTo>
                    <a:pt x="285140" y="170321"/>
                  </a:lnTo>
                  <a:close/>
                  <a:moveTo>
                    <a:pt x="60027" y="165482"/>
                  </a:moveTo>
                  <a:lnTo>
                    <a:pt x="59313" y="170321"/>
                  </a:lnTo>
                  <a:lnTo>
                    <a:pt x="54894" y="172508"/>
                  </a:lnTo>
                  <a:lnTo>
                    <a:pt x="59313" y="174667"/>
                  </a:lnTo>
                  <a:lnTo>
                    <a:pt x="60027" y="179506"/>
                  </a:lnTo>
                  <a:lnTo>
                    <a:pt x="63458" y="176007"/>
                  </a:lnTo>
                  <a:lnTo>
                    <a:pt x="68317" y="176827"/>
                  </a:lnTo>
                  <a:lnTo>
                    <a:pt x="66011" y="172508"/>
                  </a:lnTo>
                  <a:lnTo>
                    <a:pt x="68317" y="168161"/>
                  </a:lnTo>
                  <a:lnTo>
                    <a:pt x="63458" y="168981"/>
                  </a:lnTo>
                  <a:close/>
                  <a:moveTo>
                    <a:pt x="281498" y="146049"/>
                  </a:moveTo>
                  <a:lnTo>
                    <a:pt x="278755" y="150092"/>
                  </a:lnTo>
                  <a:lnTo>
                    <a:pt x="273867" y="150120"/>
                  </a:lnTo>
                  <a:lnTo>
                    <a:pt x="276854" y="153999"/>
                  </a:lnTo>
                  <a:lnTo>
                    <a:pt x="275388" y="158670"/>
                  </a:lnTo>
                  <a:lnTo>
                    <a:pt x="279950" y="157004"/>
                  </a:lnTo>
                  <a:lnTo>
                    <a:pt x="283915" y="159872"/>
                  </a:lnTo>
                  <a:lnTo>
                    <a:pt x="283780" y="154955"/>
                  </a:lnTo>
                  <a:lnTo>
                    <a:pt x="287690" y="152059"/>
                  </a:lnTo>
                  <a:lnTo>
                    <a:pt x="283019" y="150693"/>
                  </a:lnTo>
                  <a:close/>
                  <a:moveTo>
                    <a:pt x="62889" y="146049"/>
                  </a:moveTo>
                  <a:lnTo>
                    <a:pt x="61368" y="150693"/>
                  </a:lnTo>
                  <a:lnTo>
                    <a:pt x="56697" y="152059"/>
                  </a:lnTo>
                  <a:lnTo>
                    <a:pt x="60608" y="154955"/>
                  </a:lnTo>
                  <a:lnTo>
                    <a:pt x="60472" y="159872"/>
                  </a:lnTo>
                  <a:lnTo>
                    <a:pt x="64437" y="157004"/>
                  </a:lnTo>
                  <a:lnTo>
                    <a:pt x="68999" y="158670"/>
                  </a:lnTo>
                  <a:lnTo>
                    <a:pt x="67533" y="153999"/>
                  </a:lnTo>
                  <a:lnTo>
                    <a:pt x="70520" y="150120"/>
                  </a:lnTo>
                  <a:lnTo>
                    <a:pt x="65632" y="150092"/>
                  </a:lnTo>
                  <a:close/>
                  <a:moveTo>
                    <a:pt x="275292" y="127618"/>
                  </a:moveTo>
                  <a:lnTo>
                    <a:pt x="273269" y="132007"/>
                  </a:lnTo>
                  <a:lnTo>
                    <a:pt x="268457" y="132864"/>
                  </a:lnTo>
                  <a:lnTo>
                    <a:pt x="272066" y="136103"/>
                  </a:lnTo>
                  <a:lnTo>
                    <a:pt x="271410" y="140840"/>
                  </a:lnTo>
                  <a:lnTo>
                    <a:pt x="275674" y="138458"/>
                  </a:lnTo>
                  <a:lnTo>
                    <a:pt x="280076" y="140546"/>
                  </a:lnTo>
                  <a:lnTo>
                    <a:pt x="279091" y="135862"/>
                  </a:lnTo>
                  <a:lnTo>
                    <a:pt x="282481" y="132382"/>
                  </a:lnTo>
                  <a:lnTo>
                    <a:pt x="277615" y="131847"/>
                  </a:lnTo>
                  <a:close/>
                  <a:moveTo>
                    <a:pt x="69193" y="127618"/>
                  </a:moveTo>
                  <a:lnTo>
                    <a:pt x="66903" y="131847"/>
                  </a:lnTo>
                  <a:lnTo>
                    <a:pt x="62106" y="132382"/>
                  </a:lnTo>
                  <a:lnTo>
                    <a:pt x="65447" y="135862"/>
                  </a:lnTo>
                  <a:lnTo>
                    <a:pt x="64477" y="140546"/>
                  </a:lnTo>
                  <a:lnTo>
                    <a:pt x="68816" y="138458"/>
                  </a:lnTo>
                  <a:lnTo>
                    <a:pt x="73019" y="140840"/>
                  </a:lnTo>
                  <a:lnTo>
                    <a:pt x="72373" y="136103"/>
                  </a:lnTo>
                  <a:lnTo>
                    <a:pt x="75929" y="132864"/>
                  </a:lnTo>
                  <a:lnTo>
                    <a:pt x="71187" y="132007"/>
                  </a:lnTo>
                  <a:close/>
                  <a:moveTo>
                    <a:pt x="265997" y="110188"/>
                  </a:moveTo>
                  <a:lnTo>
                    <a:pt x="264803" y="114963"/>
                  </a:lnTo>
                  <a:lnTo>
                    <a:pt x="260243" y="116665"/>
                  </a:lnTo>
                  <a:lnTo>
                    <a:pt x="264341" y="119299"/>
                  </a:lnTo>
                  <a:lnTo>
                    <a:pt x="264558" y="124212"/>
                  </a:lnTo>
                  <a:lnTo>
                    <a:pt x="268276" y="121083"/>
                  </a:lnTo>
                  <a:lnTo>
                    <a:pt x="272971" y="122401"/>
                  </a:lnTo>
                  <a:lnTo>
                    <a:pt x="271180" y="117845"/>
                  </a:lnTo>
                  <a:lnTo>
                    <a:pt x="273867" y="113756"/>
                  </a:lnTo>
                  <a:lnTo>
                    <a:pt x="269009" y="114057"/>
                  </a:lnTo>
                  <a:close/>
                  <a:moveTo>
                    <a:pt x="78590" y="110188"/>
                  </a:moveTo>
                  <a:lnTo>
                    <a:pt x="75578" y="114057"/>
                  </a:lnTo>
                  <a:lnTo>
                    <a:pt x="70721" y="113756"/>
                  </a:lnTo>
                  <a:lnTo>
                    <a:pt x="73407" y="117845"/>
                  </a:lnTo>
                  <a:lnTo>
                    <a:pt x="71616" y="122401"/>
                  </a:lnTo>
                  <a:lnTo>
                    <a:pt x="76311" y="121083"/>
                  </a:lnTo>
                  <a:lnTo>
                    <a:pt x="80029" y="124212"/>
                  </a:lnTo>
                  <a:lnTo>
                    <a:pt x="80246" y="119299"/>
                  </a:lnTo>
                  <a:lnTo>
                    <a:pt x="84344" y="116665"/>
                  </a:lnTo>
                  <a:lnTo>
                    <a:pt x="79785" y="114963"/>
                  </a:lnTo>
                  <a:close/>
                  <a:moveTo>
                    <a:pt x="172293" y="107507"/>
                  </a:moveTo>
                  <a:cubicBezTo>
                    <a:pt x="169195" y="107507"/>
                    <a:pt x="166097" y="109253"/>
                    <a:pt x="164742" y="112163"/>
                  </a:cubicBezTo>
                  <a:lnTo>
                    <a:pt x="148477" y="145335"/>
                  </a:lnTo>
                  <a:lnTo>
                    <a:pt x="111881" y="150766"/>
                  </a:lnTo>
                  <a:cubicBezTo>
                    <a:pt x="108589" y="151154"/>
                    <a:pt x="106072" y="153482"/>
                    <a:pt x="104910" y="156392"/>
                  </a:cubicBezTo>
                  <a:cubicBezTo>
                    <a:pt x="103942" y="159496"/>
                    <a:pt x="104910" y="162988"/>
                    <a:pt x="107234" y="165121"/>
                  </a:cubicBezTo>
                  <a:lnTo>
                    <a:pt x="133567" y="190922"/>
                  </a:lnTo>
                  <a:lnTo>
                    <a:pt x="127371" y="227392"/>
                  </a:lnTo>
                  <a:cubicBezTo>
                    <a:pt x="126790" y="230689"/>
                    <a:pt x="128146" y="233987"/>
                    <a:pt x="130663" y="235733"/>
                  </a:cubicBezTo>
                  <a:cubicBezTo>
                    <a:pt x="132212" y="236897"/>
                    <a:pt x="133955" y="237479"/>
                    <a:pt x="135697" y="237479"/>
                  </a:cubicBezTo>
                  <a:cubicBezTo>
                    <a:pt x="137053" y="237479"/>
                    <a:pt x="138408" y="237091"/>
                    <a:pt x="139570" y="236509"/>
                  </a:cubicBezTo>
                  <a:lnTo>
                    <a:pt x="172293" y="219244"/>
                  </a:lnTo>
                  <a:lnTo>
                    <a:pt x="205016" y="236509"/>
                  </a:lnTo>
                  <a:cubicBezTo>
                    <a:pt x="206372" y="237091"/>
                    <a:pt x="207727" y="237479"/>
                    <a:pt x="209083" y="237479"/>
                  </a:cubicBezTo>
                  <a:cubicBezTo>
                    <a:pt x="210825" y="237479"/>
                    <a:pt x="212568" y="236897"/>
                    <a:pt x="213923" y="235733"/>
                  </a:cubicBezTo>
                  <a:cubicBezTo>
                    <a:pt x="216634" y="233987"/>
                    <a:pt x="217990" y="230689"/>
                    <a:pt x="217409" y="227392"/>
                  </a:cubicBezTo>
                  <a:lnTo>
                    <a:pt x="211213" y="190922"/>
                  </a:lnTo>
                  <a:lnTo>
                    <a:pt x="237546" y="165121"/>
                  </a:lnTo>
                  <a:cubicBezTo>
                    <a:pt x="239870" y="162988"/>
                    <a:pt x="240644" y="159496"/>
                    <a:pt x="239676" y="156392"/>
                  </a:cubicBezTo>
                  <a:cubicBezTo>
                    <a:pt x="238708" y="153482"/>
                    <a:pt x="235997" y="151154"/>
                    <a:pt x="232899" y="150766"/>
                  </a:cubicBezTo>
                  <a:lnTo>
                    <a:pt x="196303" y="145335"/>
                  </a:lnTo>
                  <a:lnTo>
                    <a:pt x="180038" y="112163"/>
                  </a:lnTo>
                  <a:cubicBezTo>
                    <a:pt x="178489" y="109253"/>
                    <a:pt x="175585" y="107507"/>
                    <a:pt x="172293" y="107507"/>
                  </a:cubicBezTo>
                  <a:close/>
                  <a:moveTo>
                    <a:pt x="253771" y="94962"/>
                  </a:moveTo>
                  <a:lnTo>
                    <a:pt x="253394" y="99795"/>
                  </a:lnTo>
                  <a:lnTo>
                    <a:pt x="249225" y="102225"/>
                  </a:lnTo>
                  <a:lnTo>
                    <a:pt x="253690" y="104061"/>
                  </a:lnTo>
                  <a:lnTo>
                    <a:pt x="254712" y="108785"/>
                  </a:lnTo>
                  <a:lnTo>
                    <a:pt x="257833" y="105114"/>
                  </a:lnTo>
                  <a:lnTo>
                    <a:pt x="262648" y="105573"/>
                  </a:lnTo>
                  <a:lnTo>
                    <a:pt x="260119" y="101469"/>
                  </a:lnTo>
                  <a:lnTo>
                    <a:pt x="262056" y="97041"/>
                  </a:lnTo>
                  <a:lnTo>
                    <a:pt x="257348" y="98175"/>
                  </a:lnTo>
                  <a:close/>
                  <a:moveTo>
                    <a:pt x="90749" y="94962"/>
                  </a:moveTo>
                  <a:lnTo>
                    <a:pt x="87118" y="98175"/>
                  </a:lnTo>
                  <a:lnTo>
                    <a:pt x="82340" y="97041"/>
                  </a:lnTo>
                  <a:lnTo>
                    <a:pt x="84333" y="101469"/>
                  </a:lnTo>
                  <a:lnTo>
                    <a:pt x="81739" y="105573"/>
                  </a:lnTo>
                  <a:lnTo>
                    <a:pt x="86626" y="105114"/>
                  </a:lnTo>
                  <a:lnTo>
                    <a:pt x="89793" y="108785"/>
                  </a:lnTo>
                  <a:lnTo>
                    <a:pt x="90831" y="104061"/>
                  </a:lnTo>
                  <a:lnTo>
                    <a:pt x="95363" y="102225"/>
                  </a:lnTo>
                  <a:lnTo>
                    <a:pt x="91131" y="99795"/>
                  </a:lnTo>
                  <a:close/>
                  <a:moveTo>
                    <a:pt x="239015" y="81940"/>
                  </a:moveTo>
                  <a:lnTo>
                    <a:pt x="239501" y="86827"/>
                  </a:lnTo>
                  <a:lnTo>
                    <a:pt x="235802" y="89993"/>
                  </a:lnTo>
                  <a:lnTo>
                    <a:pt x="240527" y="91031"/>
                  </a:lnTo>
                  <a:lnTo>
                    <a:pt x="242363" y="95563"/>
                  </a:lnTo>
                  <a:lnTo>
                    <a:pt x="244792" y="91331"/>
                  </a:lnTo>
                  <a:lnTo>
                    <a:pt x="249625" y="90976"/>
                  </a:lnTo>
                  <a:lnTo>
                    <a:pt x="246413" y="87318"/>
                  </a:lnTo>
                  <a:lnTo>
                    <a:pt x="247546" y="82568"/>
                  </a:lnTo>
                  <a:lnTo>
                    <a:pt x="243119" y="84533"/>
                  </a:lnTo>
                  <a:close/>
                  <a:moveTo>
                    <a:pt x="105372" y="81940"/>
                  </a:moveTo>
                  <a:lnTo>
                    <a:pt x="101268" y="84533"/>
                  </a:lnTo>
                  <a:lnTo>
                    <a:pt x="96841" y="82568"/>
                  </a:lnTo>
                  <a:lnTo>
                    <a:pt x="97975" y="87318"/>
                  </a:lnTo>
                  <a:lnTo>
                    <a:pt x="94762" y="90976"/>
                  </a:lnTo>
                  <a:lnTo>
                    <a:pt x="99594" y="91331"/>
                  </a:lnTo>
                  <a:lnTo>
                    <a:pt x="102024" y="95563"/>
                  </a:lnTo>
                  <a:lnTo>
                    <a:pt x="103860" y="91031"/>
                  </a:lnTo>
                  <a:lnTo>
                    <a:pt x="108585" y="89993"/>
                  </a:lnTo>
                  <a:lnTo>
                    <a:pt x="104886" y="86827"/>
                  </a:lnTo>
                  <a:close/>
                  <a:moveTo>
                    <a:pt x="230910" y="70720"/>
                  </a:moveTo>
                  <a:lnTo>
                    <a:pt x="226879" y="73474"/>
                  </a:lnTo>
                  <a:lnTo>
                    <a:pt x="222361" y="71629"/>
                  </a:lnTo>
                  <a:lnTo>
                    <a:pt x="223687" y="76393"/>
                  </a:lnTo>
                  <a:lnTo>
                    <a:pt x="220576" y="80193"/>
                  </a:lnTo>
                  <a:lnTo>
                    <a:pt x="225418" y="80386"/>
                  </a:lnTo>
                  <a:lnTo>
                    <a:pt x="228015" y="84544"/>
                  </a:lnTo>
                  <a:lnTo>
                    <a:pt x="229692" y="79918"/>
                  </a:lnTo>
                  <a:lnTo>
                    <a:pt x="234399" y="78706"/>
                  </a:lnTo>
                  <a:lnTo>
                    <a:pt x="230585" y="75650"/>
                  </a:lnTo>
                  <a:close/>
                  <a:moveTo>
                    <a:pt x="113678" y="70720"/>
                  </a:moveTo>
                  <a:lnTo>
                    <a:pt x="114002" y="75650"/>
                  </a:lnTo>
                  <a:lnTo>
                    <a:pt x="110188" y="78706"/>
                  </a:lnTo>
                  <a:lnTo>
                    <a:pt x="114895" y="79918"/>
                  </a:lnTo>
                  <a:lnTo>
                    <a:pt x="116572" y="84544"/>
                  </a:lnTo>
                  <a:lnTo>
                    <a:pt x="119169" y="80386"/>
                  </a:lnTo>
                  <a:lnTo>
                    <a:pt x="124011" y="80193"/>
                  </a:lnTo>
                  <a:lnTo>
                    <a:pt x="120900" y="76393"/>
                  </a:lnTo>
                  <a:lnTo>
                    <a:pt x="122226" y="71629"/>
                  </a:lnTo>
                  <a:lnTo>
                    <a:pt x="117708" y="73474"/>
                  </a:lnTo>
                  <a:close/>
                  <a:moveTo>
                    <a:pt x="212334" y="62106"/>
                  </a:moveTo>
                  <a:lnTo>
                    <a:pt x="208828" y="65489"/>
                  </a:lnTo>
                  <a:lnTo>
                    <a:pt x="204046" y="64507"/>
                  </a:lnTo>
                  <a:lnTo>
                    <a:pt x="206165" y="68900"/>
                  </a:lnTo>
                  <a:lnTo>
                    <a:pt x="203747" y="73156"/>
                  </a:lnTo>
                  <a:lnTo>
                    <a:pt x="208584" y="72501"/>
                  </a:lnTo>
                  <a:lnTo>
                    <a:pt x="211844" y="76130"/>
                  </a:lnTo>
                  <a:lnTo>
                    <a:pt x="212714" y="71301"/>
                  </a:lnTo>
                  <a:lnTo>
                    <a:pt x="217170" y="69282"/>
                  </a:lnTo>
                  <a:lnTo>
                    <a:pt x="212877" y="66962"/>
                  </a:lnTo>
                  <a:close/>
                  <a:moveTo>
                    <a:pt x="132182" y="62106"/>
                  </a:moveTo>
                  <a:lnTo>
                    <a:pt x="131646" y="66962"/>
                  </a:lnTo>
                  <a:lnTo>
                    <a:pt x="127417" y="69282"/>
                  </a:lnTo>
                  <a:lnTo>
                    <a:pt x="131807" y="71301"/>
                  </a:lnTo>
                  <a:lnTo>
                    <a:pt x="132663" y="76130"/>
                  </a:lnTo>
                  <a:lnTo>
                    <a:pt x="135875" y="72501"/>
                  </a:lnTo>
                  <a:lnTo>
                    <a:pt x="140640" y="73156"/>
                  </a:lnTo>
                  <a:lnTo>
                    <a:pt x="138258" y="68900"/>
                  </a:lnTo>
                  <a:lnTo>
                    <a:pt x="140345" y="64507"/>
                  </a:lnTo>
                  <a:lnTo>
                    <a:pt x="135635" y="65489"/>
                  </a:lnTo>
                  <a:close/>
                  <a:moveTo>
                    <a:pt x="192615" y="56897"/>
                  </a:moveTo>
                  <a:lnTo>
                    <a:pt x="189761" y="60835"/>
                  </a:lnTo>
                  <a:lnTo>
                    <a:pt x="184915" y="60672"/>
                  </a:lnTo>
                  <a:lnTo>
                    <a:pt x="187742" y="64637"/>
                  </a:lnTo>
                  <a:lnTo>
                    <a:pt x="186127" y="69227"/>
                  </a:lnTo>
                  <a:lnTo>
                    <a:pt x="190704" y="67733"/>
                  </a:lnTo>
                  <a:lnTo>
                    <a:pt x="194527" y="70720"/>
                  </a:lnTo>
                  <a:lnTo>
                    <a:pt x="194554" y="65832"/>
                  </a:lnTo>
                  <a:lnTo>
                    <a:pt x="198538" y="63089"/>
                  </a:lnTo>
                  <a:lnTo>
                    <a:pt x="193961" y="61568"/>
                  </a:lnTo>
                  <a:close/>
                  <a:moveTo>
                    <a:pt x="151859" y="56897"/>
                  </a:moveTo>
                  <a:lnTo>
                    <a:pt x="150493" y="61568"/>
                  </a:lnTo>
                  <a:lnTo>
                    <a:pt x="145849" y="63089"/>
                  </a:lnTo>
                  <a:lnTo>
                    <a:pt x="149892" y="65832"/>
                  </a:lnTo>
                  <a:lnTo>
                    <a:pt x="149919" y="70720"/>
                  </a:lnTo>
                  <a:lnTo>
                    <a:pt x="153798" y="67733"/>
                  </a:lnTo>
                  <a:lnTo>
                    <a:pt x="158443" y="69227"/>
                  </a:lnTo>
                  <a:lnTo>
                    <a:pt x="156804" y="64637"/>
                  </a:lnTo>
                  <a:lnTo>
                    <a:pt x="159672" y="60672"/>
                  </a:lnTo>
                  <a:lnTo>
                    <a:pt x="154755" y="60835"/>
                  </a:lnTo>
                  <a:close/>
                  <a:moveTo>
                    <a:pt x="172307" y="55094"/>
                  </a:moveTo>
                  <a:lnTo>
                    <a:pt x="170121" y="59447"/>
                  </a:lnTo>
                  <a:lnTo>
                    <a:pt x="165282" y="60150"/>
                  </a:lnTo>
                  <a:lnTo>
                    <a:pt x="168781" y="63530"/>
                  </a:lnTo>
                  <a:lnTo>
                    <a:pt x="167961" y="68316"/>
                  </a:lnTo>
                  <a:lnTo>
                    <a:pt x="172307" y="66045"/>
                  </a:lnTo>
                  <a:lnTo>
                    <a:pt x="176627" y="68316"/>
                  </a:lnTo>
                  <a:lnTo>
                    <a:pt x="175806" y="63530"/>
                  </a:lnTo>
                  <a:lnTo>
                    <a:pt x="179306" y="60150"/>
                  </a:lnTo>
                  <a:lnTo>
                    <a:pt x="174467" y="59447"/>
                  </a:lnTo>
                  <a:close/>
                  <a:moveTo>
                    <a:pt x="171615" y="48293"/>
                  </a:moveTo>
                  <a:cubicBezTo>
                    <a:pt x="239051" y="48293"/>
                    <a:pt x="293719" y="102961"/>
                    <a:pt x="293719" y="170398"/>
                  </a:cubicBezTo>
                  <a:cubicBezTo>
                    <a:pt x="293719" y="237834"/>
                    <a:pt x="239051" y="292503"/>
                    <a:pt x="171615" y="292503"/>
                  </a:cubicBezTo>
                  <a:cubicBezTo>
                    <a:pt x="104179" y="292503"/>
                    <a:pt x="49510" y="237834"/>
                    <a:pt x="49510" y="170398"/>
                  </a:cubicBezTo>
                  <a:cubicBezTo>
                    <a:pt x="49510" y="102961"/>
                    <a:pt x="104179" y="48293"/>
                    <a:pt x="171615" y="48293"/>
                  </a:cubicBezTo>
                  <a:close/>
                  <a:moveTo>
                    <a:pt x="171615" y="34348"/>
                  </a:moveTo>
                  <a:cubicBezTo>
                    <a:pt x="96477" y="34348"/>
                    <a:pt x="35565" y="95260"/>
                    <a:pt x="35565" y="170398"/>
                  </a:cubicBezTo>
                  <a:cubicBezTo>
                    <a:pt x="35565" y="245536"/>
                    <a:pt x="96477" y="306448"/>
                    <a:pt x="171615" y="306448"/>
                  </a:cubicBezTo>
                  <a:cubicBezTo>
                    <a:pt x="246753" y="306448"/>
                    <a:pt x="307665" y="245536"/>
                    <a:pt x="307665" y="170398"/>
                  </a:cubicBezTo>
                  <a:cubicBezTo>
                    <a:pt x="307665" y="95260"/>
                    <a:pt x="246753" y="34348"/>
                    <a:pt x="171615" y="34348"/>
                  </a:cubicBezTo>
                  <a:close/>
                  <a:moveTo>
                    <a:pt x="172307" y="0"/>
                  </a:moveTo>
                  <a:cubicBezTo>
                    <a:pt x="186784" y="0"/>
                    <a:pt x="198956" y="17777"/>
                    <a:pt x="212700" y="21468"/>
                  </a:cubicBezTo>
                  <a:cubicBezTo>
                    <a:pt x="226580" y="25187"/>
                    <a:pt x="246018" y="15932"/>
                    <a:pt x="258434" y="23124"/>
                  </a:cubicBezTo>
                  <a:cubicBezTo>
                    <a:pt x="270768" y="30235"/>
                    <a:pt x="272476" y="51703"/>
                    <a:pt x="282724" y="61936"/>
                  </a:cubicBezTo>
                  <a:cubicBezTo>
                    <a:pt x="292944" y="72195"/>
                    <a:pt x="314387" y="73905"/>
                    <a:pt x="321490" y="86254"/>
                  </a:cubicBezTo>
                  <a:cubicBezTo>
                    <a:pt x="328674" y="98684"/>
                    <a:pt x="319430" y="118144"/>
                    <a:pt x="323144" y="132040"/>
                  </a:cubicBezTo>
                  <a:cubicBezTo>
                    <a:pt x="326831" y="145801"/>
                    <a:pt x="344587" y="158014"/>
                    <a:pt x="344587" y="172508"/>
                  </a:cubicBezTo>
                  <a:cubicBezTo>
                    <a:pt x="344587" y="187001"/>
                    <a:pt x="326831" y="199214"/>
                    <a:pt x="323144" y="212975"/>
                  </a:cubicBezTo>
                  <a:cubicBezTo>
                    <a:pt x="319430" y="226844"/>
                    <a:pt x="328674" y="246304"/>
                    <a:pt x="321490" y="258734"/>
                  </a:cubicBezTo>
                  <a:cubicBezTo>
                    <a:pt x="314387" y="271083"/>
                    <a:pt x="292944" y="272793"/>
                    <a:pt x="282724" y="283052"/>
                  </a:cubicBezTo>
                  <a:cubicBezTo>
                    <a:pt x="272476" y="293312"/>
                    <a:pt x="270768" y="314753"/>
                    <a:pt x="258434" y="321891"/>
                  </a:cubicBezTo>
                  <a:cubicBezTo>
                    <a:pt x="246018" y="329056"/>
                    <a:pt x="226580" y="319801"/>
                    <a:pt x="212700" y="323520"/>
                  </a:cubicBezTo>
                  <a:cubicBezTo>
                    <a:pt x="198956" y="327211"/>
                    <a:pt x="186784" y="344988"/>
                    <a:pt x="172307" y="344988"/>
                  </a:cubicBezTo>
                  <a:cubicBezTo>
                    <a:pt x="157804" y="344988"/>
                    <a:pt x="145632" y="327211"/>
                    <a:pt x="131887" y="323520"/>
                  </a:cubicBezTo>
                  <a:cubicBezTo>
                    <a:pt x="118007" y="319801"/>
                    <a:pt x="98570" y="329056"/>
                    <a:pt x="86154" y="321891"/>
                  </a:cubicBezTo>
                  <a:cubicBezTo>
                    <a:pt x="73819" y="314753"/>
                    <a:pt x="72111" y="293312"/>
                    <a:pt x="61864" y="283052"/>
                  </a:cubicBezTo>
                  <a:cubicBezTo>
                    <a:pt x="51644" y="272793"/>
                    <a:pt x="30200" y="271083"/>
                    <a:pt x="23097" y="258734"/>
                  </a:cubicBezTo>
                  <a:cubicBezTo>
                    <a:pt x="15913" y="246304"/>
                    <a:pt x="25158" y="226844"/>
                    <a:pt x="21444" y="212975"/>
                  </a:cubicBezTo>
                  <a:cubicBezTo>
                    <a:pt x="17757" y="199214"/>
                    <a:pt x="0" y="187001"/>
                    <a:pt x="0" y="172508"/>
                  </a:cubicBezTo>
                  <a:cubicBezTo>
                    <a:pt x="0" y="158014"/>
                    <a:pt x="17757" y="145801"/>
                    <a:pt x="21444" y="132040"/>
                  </a:cubicBezTo>
                  <a:cubicBezTo>
                    <a:pt x="25158" y="118144"/>
                    <a:pt x="15913" y="98684"/>
                    <a:pt x="23097" y="86254"/>
                  </a:cubicBezTo>
                  <a:cubicBezTo>
                    <a:pt x="30200" y="73905"/>
                    <a:pt x="51644" y="72195"/>
                    <a:pt x="61864" y="61936"/>
                  </a:cubicBezTo>
                  <a:cubicBezTo>
                    <a:pt x="72111" y="51703"/>
                    <a:pt x="73819" y="30235"/>
                    <a:pt x="86154" y="23124"/>
                  </a:cubicBezTo>
                  <a:cubicBezTo>
                    <a:pt x="98570" y="15932"/>
                    <a:pt x="118007" y="25187"/>
                    <a:pt x="131887" y="21468"/>
                  </a:cubicBezTo>
                  <a:cubicBezTo>
                    <a:pt x="145632" y="17777"/>
                    <a:pt x="157804" y="0"/>
                    <a:pt x="172307" y="0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" name="Freeform 352">
              <a:extLst>
                <a:ext uri="{FF2B5EF4-FFF2-40B4-BE49-F238E27FC236}">
                  <a16:creationId xmlns:a16="http://schemas.microsoft.com/office/drawing/2014/main" id="{02E74E3F-674C-468C-B05E-B8BF34A8AB86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6243" y="443760"/>
              <a:ext cx="145448" cy="207954"/>
            </a:xfrm>
            <a:custGeom>
              <a:avLst/>
              <a:gdLst>
                <a:gd name="T0" fmla="*/ 3234 w 5365"/>
                <a:gd name="T1" fmla="*/ 384 h 7662"/>
                <a:gd name="T2" fmla="*/ 1547 w 5365"/>
                <a:gd name="T3" fmla="*/ 444 h 7662"/>
                <a:gd name="T4" fmla="*/ 57 w 5365"/>
                <a:gd name="T5" fmla="*/ 1235 h 7662"/>
                <a:gd name="T6" fmla="*/ 0 w 5365"/>
                <a:gd name="T7" fmla="*/ 1233 h 7662"/>
                <a:gd name="T8" fmla="*/ 1722 w 5365"/>
                <a:gd name="T9" fmla="*/ 7662 h 7662"/>
                <a:gd name="T10" fmla="*/ 3185 w 5365"/>
                <a:gd name="T11" fmla="*/ 5834 h 7662"/>
                <a:gd name="T12" fmla="*/ 5365 w 5365"/>
                <a:gd name="T13" fmla="*/ 6686 h 7662"/>
                <a:gd name="T14" fmla="*/ 3574 w 5365"/>
                <a:gd name="T15" fmla="*/ 0 h 7662"/>
                <a:gd name="T16" fmla="*/ 3234 w 5365"/>
                <a:gd name="T17" fmla="*/ 384 h 76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365" h="7662">
                  <a:moveTo>
                    <a:pt x="3234" y="384"/>
                  </a:moveTo>
                  <a:cubicBezTo>
                    <a:pt x="2776" y="649"/>
                    <a:pt x="2059" y="307"/>
                    <a:pt x="1547" y="444"/>
                  </a:cubicBezTo>
                  <a:cubicBezTo>
                    <a:pt x="1040" y="580"/>
                    <a:pt x="591" y="1235"/>
                    <a:pt x="57" y="1235"/>
                  </a:cubicBezTo>
                  <a:cubicBezTo>
                    <a:pt x="37" y="1235"/>
                    <a:pt x="18" y="1235"/>
                    <a:pt x="0" y="1233"/>
                  </a:cubicBezTo>
                  <a:lnTo>
                    <a:pt x="1722" y="7662"/>
                  </a:lnTo>
                  <a:lnTo>
                    <a:pt x="3185" y="5834"/>
                  </a:lnTo>
                  <a:lnTo>
                    <a:pt x="5365" y="6686"/>
                  </a:lnTo>
                  <a:lnTo>
                    <a:pt x="3574" y="0"/>
                  </a:lnTo>
                  <a:cubicBezTo>
                    <a:pt x="3485" y="162"/>
                    <a:pt x="3380" y="300"/>
                    <a:pt x="3234" y="384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" name="Freeform 353">
              <a:extLst>
                <a:ext uri="{FF2B5EF4-FFF2-40B4-BE49-F238E27FC236}">
                  <a16:creationId xmlns:a16="http://schemas.microsoft.com/office/drawing/2014/main" id="{DAD1C763-E31E-4212-98CA-65F48FEFF261}"/>
                </a:ext>
              </a:extLst>
            </p:cNvPr>
            <p:cNvSpPr>
              <a:spLocks/>
            </p:cNvSpPr>
            <p:nvPr/>
          </p:nvSpPr>
          <p:spPr bwMode="auto">
            <a:xfrm>
              <a:off x="2608373" y="443760"/>
              <a:ext cx="145448" cy="207954"/>
            </a:xfrm>
            <a:custGeom>
              <a:avLst/>
              <a:gdLst>
                <a:gd name="T0" fmla="*/ 2131 w 5366"/>
                <a:gd name="T1" fmla="*/ 384 h 7662"/>
                <a:gd name="T2" fmla="*/ 3818 w 5366"/>
                <a:gd name="T3" fmla="*/ 444 h 7662"/>
                <a:gd name="T4" fmla="*/ 5308 w 5366"/>
                <a:gd name="T5" fmla="*/ 1235 h 7662"/>
                <a:gd name="T6" fmla="*/ 5366 w 5366"/>
                <a:gd name="T7" fmla="*/ 1233 h 7662"/>
                <a:gd name="T8" fmla="*/ 3643 w 5366"/>
                <a:gd name="T9" fmla="*/ 7662 h 7662"/>
                <a:gd name="T10" fmla="*/ 2180 w 5366"/>
                <a:gd name="T11" fmla="*/ 5834 h 7662"/>
                <a:gd name="T12" fmla="*/ 0 w 5366"/>
                <a:gd name="T13" fmla="*/ 6686 h 7662"/>
                <a:gd name="T14" fmla="*/ 1791 w 5366"/>
                <a:gd name="T15" fmla="*/ 0 h 7662"/>
                <a:gd name="T16" fmla="*/ 2131 w 5366"/>
                <a:gd name="T17" fmla="*/ 384 h 76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366" h="7662">
                  <a:moveTo>
                    <a:pt x="2131" y="384"/>
                  </a:moveTo>
                  <a:cubicBezTo>
                    <a:pt x="2589" y="649"/>
                    <a:pt x="3306" y="307"/>
                    <a:pt x="3818" y="444"/>
                  </a:cubicBezTo>
                  <a:cubicBezTo>
                    <a:pt x="4325" y="580"/>
                    <a:pt x="4774" y="1235"/>
                    <a:pt x="5308" y="1235"/>
                  </a:cubicBezTo>
                  <a:cubicBezTo>
                    <a:pt x="5328" y="1235"/>
                    <a:pt x="5347" y="1235"/>
                    <a:pt x="5366" y="1233"/>
                  </a:cubicBezTo>
                  <a:lnTo>
                    <a:pt x="3643" y="7662"/>
                  </a:lnTo>
                  <a:lnTo>
                    <a:pt x="2180" y="5834"/>
                  </a:lnTo>
                  <a:lnTo>
                    <a:pt x="0" y="6686"/>
                  </a:lnTo>
                  <a:lnTo>
                    <a:pt x="1791" y="0"/>
                  </a:lnTo>
                  <a:cubicBezTo>
                    <a:pt x="1880" y="162"/>
                    <a:pt x="1985" y="300"/>
                    <a:pt x="2131" y="384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856685236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8" name="Rectangle 7">
            <a:extLst>
              <a:ext uri="{FF2B5EF4-FFF2-40B4-BE49-F238E27FC236}">
                <a16:creationId xmlns:a16="http://schemas.microsoft.com/office/drawing/2014/main" id="{1ACA2EA0-FFD3-42EC-9406-B595015ED96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 useBgFill="1">
        <p:nvSpPr>
          <p:cNvPr id="10" name="Rectangle 9">
            <a:extLst>
              <a:ext uri="{FF2B5EF4-FFF2-40B4-BE49-F238E27FC236}">
                <a16:creationId xmlns:a16="http://schemas.microsoft.com/office/drawing/2014/main" id="{D5288BCE-665C-472A-8C43-664BCFA31E4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528762" y="1247775"/>
            <a:ext cx="9144000" cy="3007447"/>
          </a:xfrm>
          <a:prstGeom prst="rect">
            <a:avLst/>
          </a:prstGeom>
          <a:solidFill>
            <a:schemeClr val="bg1"/>
          </a:solidFill>
          <a:ln w="12700">
            <a:solidFill>
              <a:srgbClr val="E1E1E1"/>
            </a:solidFill>
          </a:ln>
          <a:effectLst>
            <a:outerShdw blurRad="50800" dist="38100" dir="2700000" algn="tl" rotWithShape="0">
              <a:schemeClr val="bg1">
                <a:lumMod val="85000"/>
                <a:alpha val="5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41644713-AF21-4543-94FE-A96FEBAA2B1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804988" y="1442172"/>
            <a:ext cx="8582025" cy="2177328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algn="ctr"/>
            <a:r>
              <a:rPr lang="en-US" sz="6600" kern="1200">
                <a:solidFill>
                  <a:schemeClr val="tx1"/>
                </a:solidFill>
                <a:latin typeface="+mj-lt"/>
                <a:ea typeface="+mj-ea"/>
                <a:cs typeface="+mj-cs"/>
              </a:rPr>
              <a:t>Exerçons nous – Cas COUNT 1</a:t>
            </a:r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46C57131-53A7-4C1A-BEA8-25F06A06AD2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2487872" y="3912322"/>
            <a:ext cx="7225780" cy="685800"/>
          </a:xfrm>
          <a:prstGeom prst="roundRect">
            <a:avLst>
              <a:gd name="adj" fmla="val 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6E6AB3AA-03B3-4E7A-94A3-3EB3E0E9D00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566988" y="3962400"/>
            <a:ext cx="7058025" cy="581025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marL="0" indent="0" algn="ctr">
              <a:buNone/>
            </a:pPr>
            <a:r>
              <a:rPr lang="en-US" kern="1200">
                <a:solidFill>
                  <a:srgbClr val="FFFFFF"/>
                </a:solidFill>
                <a:latin typeface="+mn-lt"/>
                <a:ea typeface="+mn-ea"/>
                <a:cs typeface="+mn-cs"/>
              </a:rPr>
              <a:t>Utiliser la deuxième méthode</a:t>
            </a:r>
          </a:p>
        </p:txBody>
      </p:sp>
    </p:spTree>
    <p:extLst>
      <p:ext uri="{BB962C8B-B14F-4D97-AF65-F5344CB8AC3E}">
        <p14:creationId xmlns:p14="http://schemas.microsoft.com/office/powerpoint/2010/main" val="518596460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41644713-AF21-4543-94FE-A96FEBAA2B1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Exerçons nous – Cas COUNT 1</a:t>
            </a: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6E6AB3AA-03B3-4E7A-94A3-3EB3E0E9D00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fr-FR" dirty="0"/>
              <a:t>Date au 01/11</a:t>
            </a:r>
          </a:p>
        </p:txBody>
      </p:sp>
      <p:graphicFrame>
        <p:nvGraphicFramePr>
          <p:cNvPr id="4" name="Tableau 3">
            <a:extLst>
              <a:ext uri="{FF2B5EF4-FFF2-40B4-BE49-F238E27FC236}">
                <a16:creationId xmlns:a16="http://schemas.microsoft.com/office/drawing/2014/main" id="{AD30B320-E949-46DE-88E4-430E435C514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96155413"/>
              </p:ext>
            </p:extLst>
          </p:nvPr>
        </p:nvGraphicFramePr>
        <p:xfrm>
          <a:off x="636104" y="2633870"/>
          <a:ext cx="11270975" cy="250167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293935">
                  <a:extLst>
                    <a:ext uri="{9D8B030D-6E8A-4147-A177-3AD203B41FA5}">
                      <a16:colId xmlns:a16="http://schemas.microsoft.com/office/drawing/2014/main" val="3343390566"/>
                    </a:ext>
                  </a:extLst>
                </a:gridCol>
                <a:gridCol w="2430994">
                  <a:extLst>
                    <a:ext uri="{9D8B030D-6E8A-4147-A177-3AD203B41FA5}">
                      <a16:colId xmlns:a16="http://schemas.microsoft.com/office/drawing/2014/main" val="1198952091"/>
                    </a:ext>
                  </a:extLst>
                </a:gridCol>
                <a:gridCol w="1177137">
                  <a:extLst>
                    <a:ext uri="{9D8B030D-6E8A-4147-A177-3AD203B41FA5}">
                      <a16:colId xmlns:a16="http://schemas.microsoft.com/office/drawing/2014/main" val="3176070104"/>
                    </a:ext>
                  </a:extLst>
                </a:gridCol>
                <a:gridCol w="3984861">
                  <a:extLst>
                    <a:ext uri="{9D8B030D-6E8A-4147-A177-3AD203B41FA5}">
                      <a16:colId xmlns:a16="http://schemas.microsoft.com/office/drawing/2014/main" val="1648975012"/>
                    </a:ext>
                  </a:extLst>
                </a:gridCol>
                <a:gridCol w="1339739">
                  <a:extLst>
                    <a:ext uri="{9D8B030D-6E8A-4147-A177-3AD203B41FA5}">
                      <a16:colId xmlns:a16="http://schemas.microsoft.com/office/drawing/2014/main" val="3053901495"/>
                    </a:ext>
                  </a:extLst>
                </a:gridCol>
                <a:gridCol w="1044309">
                  <a:extLst>
                    <a:ext uri="{9D8B030D-6E8A-4147-A177-3AD203B41FA5}">
                      <a16:colId xmlns:a16="http://schemas.microsoft.com/office/drawing/2014/main" val="2865138820"/>
                    </a:ext>
                  </a:extLst>
                </a:gridCol>
              </a:tblGrid>
              <a:tr h="519319">
                <a:tc>
                  <a:txBody>
                    <a:bodyPr/>
                    <a:lstStyle/>
                    <a:p>
                      <a:pPr algn="ctr"/>
                      <a:r>
                        <a:rPr lang="fr-FR" sz="2400" dirty="0">
                          <a:effectLst/>
                        </a:rPr>
                        <a:t>6161</a:t>
                      </a:r>
                      <a:endParaRPr lang="fr-FR" sz="24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/>
                </a:tc>
                <a:tc gridSpan="2">
                  <a:txBody>
                    <a:bodyPr/>
                    <a:lstStyle/>
                    <a:p>
                      <a:pPr algn="ctr">
                        <a:spcAft>
                          <a:spcPts val="1200"/>
                        </a:spcAft>
                      </a:pPr>
                      <a:r>
                        <a:rPr lang="fr-FR" sz="2400" u="sng" kern="1600" dirty="0">
                          <a:effectLst/>
                        </a:rPr>
                        <a:t>Assurance</a:t>
                      </a:r>
                      <a:endParaRPr lang="fr-FR" sz="2400" b="1" u="sng" kern="1600" dirty="0">
                        <a:effectLst/>
                        <a:latin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44450" marR="44450" marT="0" marB="0"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2400" dirty="0">
                          <a:effectLst/>
                        </a:rPr>
                        <a:t> </a:t>
                      </a:r>
                      <a:endParaRPr lang="fr-FR" sz="24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/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2400">
                          <a:effectLst/>
                        </a:rPr>
                        <a:t>4 700,00</a:t>
                      </a:r>
                      <a:endParaRPr lang="fr-FR" sz="24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/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2400">
                          <a:effectLst/>
                        </a:rPr>
                        <a:t> </a:t>
                      </a:r>
                      <a:endParaRPr lang="fr-FR" sz="24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/>
                </a:tc>
                <a:extLst>
                  <a:ext uri="{0D108BD9-81ED-4DB2-BD59-A6C34878D82A}">
                    <a16:rowId xmlns:a16="http://schemas.microsoft.com/office/drawing/2014/main" val="3744895228"/>
                  </a:ext>
                </a:extLst>
              </a:tr>
              <a:tr h="519319">
                <a:tc>
                  <a:txBody>
                    <a:bodyPr/>
                    <a:lstStyle/>
                    <a:p>
                      <a:pPr algn="ctr"/>
                      <a:r>
                        <a:rPr lang="fr-FR" sz="2400">
                          <a:effectLst/>
                        </a:rPr>
                        <a:t>512</a:t>
                      </a:r>
                      <a:endParaRPr lang="fr-FR" sz="24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/>
                </a:tc>
                <a:tc>
                  <a:txBody>
                    <a:bodyPr/>
                    <a:lstStyle/>
                    <a:p>
                      <a:pPr algn="just"/>
                      <a:r>
                        <a:rPr lang="fr-FR" sz="2400">
                          <a:effectLst/>
                        </a:rPr>
                        <a:t> </a:t>
                      </a:r>
                      <a:endParaRPr lang="fr-FR" sz="24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2400">
                          <a:effectLst/>
                        </a:rPr>
                        <a:t> </a:t>
                      </a:r>
                      <a:endParaRPr lang="fr-FR" sz="24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/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2400" dirty="0">
                          <a:effectLst/>
                        </a:rPr>
                        <a:t>Banque</a:t>
                      </a:r>
                      <a:endParaRPr lang="fr-FR" sz="24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/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2400" dirty="0">
                          <a:effectLst/>
                        </a:rPr>
                        <a:t> </a:t>
                      </a:r>
                      <a:endParaRPr lang="fr-FR" sz="24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/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2400" dirty="0">
                          <a:effectLst/>
                        </a:rPr>
                        <a:t>4 700,00</a:t>
                      </a:r>
                      <a:endParaRPr lang="fr-FR" sz="24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/>
                </a:tc>
                <a:extLst>
                  <a:ext uri="{0D108BD9-81ED-4DB2-BD59-A6C34878D82A}">
                    <a16:rowId xmlns:a16="http://schemas.microsoft.com/office/drawing/2014/main" val="3228606228"/>
                  </a:ext>
                </a:extLst>
              </a:tr>
              <a:tr h="519319">
                <a:tc>
                  <a:txBody>
                    <a:bodyPr/>
                    <a:lstStyle/>
                    <a:p>
                      <a:pPr algn="ctr"/>
                      <a:r>
                        <a:rPr lang="fr-FR" sz="2400">
                          <a:effectLst/>
                        </a:rPr>
                        <a:t> </a:t>
                      </a:r>
                      <a:endParaRPr lang="fr-FR" sz="24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/>
                </a:tc>
                <a:tc gridSpan="3">
                  <a:txBody>
                    <a:bodyPr/>
                    <a:lstStyle/>
                    <a:p>
                      <a:pPr algn="just"/>
                      <a:r>
                        <a:rPr lang="fr-FR" sz="2400">
                          <a:effectLst/>
                        </a:rPr>
                        <a:t>Enregistrement et paiement par chèque de la quittance d'assurance multirisque</a:t>
                      </a:r>
                      <a:endParaRPr lang="fr-FR" sz="24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2400">
                          <a:effectLst/>
                        </a:rPr>
                        <a:t> </a:t>
                      </a:r>
                      <a:endParaRPr lang="fr-FR" sz="24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/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2400" dirty="0">
                          <a:effectLst/>
                        </a:rPr>
                        <a:t> </a:t>
                      </a:r>
                      <a:endParaRPr lang="fr-FR" sz="24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/>
                </a:tc>
                <a:extLst>
                  <a:ext uri="{0D108BD9-81ED-4DB2-BD59-A6C34878D82A}">
                    <a16:rowId xmlns:a16="http://schemas.microsoft.com/office/drawing/2014/main" val="3053859609"/>
                  </a:ext>
                </a:extLst>
              </a:tr>
              <a:tr h="519319">
                <a:tc>
                  <a:txBody>
                    <a:bodyPr/>
                    <a:lstStyle/>
                    <a:p>
                      <a:pPr algn="ctr"/>
                      <a:r>
                        <a:rPr lang="fr-FR" sz="800">
                          <a:effectLst/>
                        </a:rPr>
                        <a:t> </a:t>
                      </a:r>
                      <a:endParaRPr lang="fr-FR" sz="9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/>
                </a:tc>
                <a:tc gridSpan="3">
                  <a:txBody>
                    <a:bodyPr/>
                    <a:lstStyle/>
                    <a:p>
                      <a:pPr algn="just"/>
                      <a:r>
                        <a:rPr lang="fr-FR" sz="800">
                          <a:effectLst/>
                        </a:rPr>
                        <a:t> </a:t>
                      </a:r>
                      <a:endParaRPr lang="fr-FR" sz="9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800">
                          <a:effectLst/>
                        </a:rPr>
                        <a:t> </a:t>
                      </a:r>
                      <a:endParaRPr lang="fr-FR" sz="9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/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800" dirty="0">
                          <a:effectLst/>
                        </a:rPr>
                        <a:t> </a:t>
                      </a:r>
                      <a:endParaRPr lang="fr-FR" sz="9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/>
                </a:tc>
                <a:extLst>
                  <a:ext uri="{0D108BD9-81ED-4DB2-BD59-A6C34878D82A}">
                    <a16:rowId xmlns:a16="http://schemas.microsoft.com/office/drawing/2014/main" val="3178350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606901911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41644713-AF21-4543-94FE-A96FEBAA2B1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Exerçons nous – Cas COUNT 1</a:t>
            </a:r>
          </a:p>
        </p:txBody>
      </p:sp>
      <p:graphicFrame>
        <p:nvGraphicFramePr>
          <p:cNvPr id="5" name="Espace réservé du contenu 4">
            <a:extLst>
              <a:ext uri="{FF2B5EF4-FFF2-40B4-BE49-F238E27FC236}">
                <a16:creationId xmlns:a16="http://schemas.microsoft.com/office/drawing/2014/main" id="{43C069CA-369C-4FE3-84C1-BB47F63F8528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165512858"/>
              </p:ext>
            </p:extLst>
          </p:nvPr>
        </p:nvGraphicFramePr>
        <p:xfrm>
          <a:off x="918098" y="1848678"/>
          <a:ext cx="10986856" cy="380639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282264">
                  <a:extLst>
                    <a:ext uri="{9D8B030D-6E8A-4147-A177-3AD203B41FA5}">
                      <a16:colId xmlns:a16="http://schemas.microsoft.com/office/drawing/2014/main" val="2295976546"/>
                    </a:ext>
                  </a:extLst>
                </a:gridCol>
                <a:gridCol w="2409068">
                  <a:extLst>
                    <a:ext uri="{9D8B030D-6E8A-4147-A177-3AD203B41FA5}">
                      <a16:colId xmlns:a16="http://schemas.microsoft.com/office/drawing/2014/main" val="1693554320"/>
                    </a:ext>
                  </a:extLst>
                </a:gridCol>
                <a:gridCol w="1166521">
                  <a:extLst>
                    <a:ext uri="{9D8B030D-6E8A-4147-A177-3AD203B41FA5}">
                      <a16:colId xmlns:a16="http://schemas.microsoft.com/office/drawing/2014/main" val="1858678750"/>
                    </a:ext>
                  </a:extLst>
                </a:gridCol>
                <a:gridCol w="3948920">
                  <a:extLst>
                    <a:ext uri="{9D8B030D-6E8A-4147-A177-3AD203B41FA5}">
                      <a16:colId xmlns:a16="http://schemas.microsoft.com/office/drawing/2014/main" val="392747928"/>
                    </a:ext>
                  </a:extLst>
                </a:gridCol>
                <a:gridCol w="1145193">
                  <a:extLst>
                    <a:ext uri="{9D8B030D-6E8A-4147-A177-3AD203B41FA5}">
                      <a16:colId xmlns:a16="http://schemas.microsoft.com/office/drawing/2014/main" val="4000773763"/>
                    </a:ext>
                  </a:extLst>
                </a:gridCol>
                <a:gridCol w="1034890">
                  <a:extLst>
                    <a:ext uri="{9D8B030D-6E8A-4147-A177-3AD203B41FA5}">
                      <a16:colId xmlns:a16="http://schemas.microsoft.com/office/drawing/2014/main" val="4210135930"/>
                    </a:ext>
                  </a:extLst>
                </a:gridCol>
              </a:tblGrid>
              <a:tr h="703823">
                <a:tc>
                  <a:txBody>
                    <a:bodyPr/>
                    <a:lstStyle/>
                    <a:p>
                      <a:pPr algn="ctr"/>
                      <a:r>
                        <a:rPr lang="fr-FR" sz="2000">
                          <a:effectLst/>
                        </a:rPr>
                        <a:t> </a:t>
                      </a:r>
                      <a:endParaRPr lang="fr-FR" sz="20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/>
                </a:tc>
                <a:tc>
                  <a:txBody>
                    <a:bodyPr/>
                    <a:lstStyle/>
                    <a:p>
                      <a:pPr algn="just"/>
                      <a:r>
                        <a:rPr lang="fr-FR" sz="2000" dirty="0">
                          <a:effectLst/>
                        </a:rPr>
                        <a:t> </a:t>
                      </a:r>
                      <a:endParaRPr lang="fr-FR" sz="20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2000" dirty="0">
                          <a:effectLst/>
                        </a:rPr>
                        <a:t>02/11</a:t>
                      </a:r>
                      <a:endParaRPr lang="fr-FR" sz="20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/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2000" dirty="0">
                          <a:effectLst/>
                        </a:rPr>
                        <a:t> </a:t>
                      </a:r>
                      <a:endParaRPr lang="fr-FR" sz="20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/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2000">
                          <a:effectLst/>
                        </a:rPr>
                        <a:t> </a:t>
                      </a:r>
                      <a:endParaRPr lang="fr-FR" sz="20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/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2000">
                          <a:effectLst/>
                        </a:rPr>
                        <a:t> </a:t>
                      </a:r>
                      <a:endParaRPr lang="fr-FR" sz="20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/>
                </a:tc>
                <a:extLst>
                  <a:ext uri="{0D108BD9-81ED-4DB2-BD59-A6C34878D82A}">
                    <a16:rowId xmlns:a16="http://schemas.microsoft.com/office/drawing/2014/main" val="50899927"/>
                  </a:ext>
                </a:extLst>
              </a:tr>
              <a:tr h="775644">
                <a:tc>
                  <a:txBody>
                    <a:bodyPr/>
                    <a:lstStyle/>
                    <a:p>
                      <a:pPr algn="ctr"/>
                      <a:r>
                        <a:rPr lang="fr-FR" sz="2000">
                          <a:effectLst/>
                        </a:rPr>
                        <a:t>615</a:t>
                      </a:r>
                      <a:endParaRPr lang="fr-FR" sz="20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/>
                </a:tc>
                <a:tc>
                  <a:txBody>
                    <a:bodyPr/>
                    <a:lstStyle/>
                    <a:p>
                      <a:pPr algn="just"/>
                      <a:r>
                        <a:rPr lang="fr-FR" sz="2000">
                          <a:effectLst/>
                        </a:rPr>
                        <a:t>Entretien</a:t>
                      </a:r>
                      <a:endParaRPr lang="fr-FR" sz="20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2000">
                          <a:effectLst/>
                        </a:rPr>
                        <a:t> </a:t>
                      </a:r>
                      <a:endParaRPr lang="fr-FR" sz="20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/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2000" dirty="0">
                          <a:effectLst/>
                        </a:rPr>
                        <a:t> </a:t>
                      </a:r>
                      <a:endParaRPr lang="fr-FR" sz="20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/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2000">
                          <a:effectLst/>
                        </a:rPr>
                        <a:t>5 500,00</a:t>
                      </a:r>
                      <a:endParaRPr lang="fr-FR" sz="20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/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2000">
                          <a:effectLst/>
                        </a:rPr>
                        <a:t> </a:t>
                      </a:r>
                      <a:endParaRPr lang="fr-FR" sz="20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/>
                </a:tc>
                <a:extLst>
                  <a:ext uri="{0D108BD9-81ED-4DB2-BD59-A6C34878D82A}">
                    <a16:rowId xmlns:a16="http://schemas.microsoft.com/office/drawing/2014/main" val="381120643"/>
                  </a:ext>
                </a:extLst>
              </a:tr>
              <a:tr h="775644">
                <a:tc>
                  <a:txBody>
                    <a:bodyPr/>
                    <a:lstStyle/>
                    <a:p>
                      <a:pPr algn="ctr"/>
                      <a:r>
                        <a:rPr lang="fr-FR" sz="2000">
                          <a:effectLst/>
                        </a:rPr>
                        <a:t>512</a:t>
                      </a:r>
                      <a:endParaRPr lang="fr-FR" sz="20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/>
                </a:tc>
                <a:tc>
                  <a:txBody>
                    <a:bodyPr/>
                    <a:lstStyle/>
                    <a:p>
                      <a:pPr algn="just"/>
                      <a:r>
                        <a:rPr lang="fr-FR" sz="2000">
                          <a:effectLst/>
                        </a:rPr>
                        <a:t> </a:t>
                      </a:r>
                      <a:endParaRPr lang="fr-FR" sz="20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2000">
                          <a:effectLst/>
                        </a:rPr>
                        <a:t> </a:t>
                      </a:r>
                      <a:endParaRPr lang="fr-FR" sz="20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/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2000" dirty="0">
                          <a:effectLst/>
                        </a:rPr>
                        <a:t>Banque</a:t>
                      </a:r>
                      <a:endParaRPr lang="fr-FR" sz="20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/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2000">
                          <a:effectLst/>
                        </a:rPr>
                        <a:t> </a:t>
                      </a:r>
                      <a:endParaRPr lang="fr-FR" sz="20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/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2000">
                          <a:effectLst/>
                        </a:rPr>
                        <a:t>5 500,00</a:t>
                      </a:r>
                      <a:endParaRPr lang="fr-FR" sz="20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/>
                </a:tc>
                <a:extLst>
                  <a:ext uri="{0D108BD9-81ED-4DB2-BD59-A6C34878D82A}">
                    <a16:rowId xmlns:a16="http://schemas.microsoft.com/office/drawing/2014/main" val="1035120925"/>
                  </a:ext>
                </a:extLst>
              </a:tr>
              <a:tr h="775644">
                <a:tc>
                  <a:txBody>
                    <a:bodyPr/>
                    <a:lstStyle/>
                    <a:p>
                      <a:pPr algn="ctr"/>
                      <a:r>
                        <a:rPr lang="fr-FR" sz="2000">
                          <a:effectLst/>
                        </a:rPr>
                        <a:t> </a:t>
                      </a:r>
                      <a:endParaRPr lang="fr-FR" sz="20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/>
                </a:tc>
                <a:tc gridSpan="3">
                  <a:txBody>
                    <a:bodyPr/>
                    <a:lstStyle/>
                    <a:p>
                      <a:pPr algn="just"/>
                      <a:r>
                        <a:rPr lang="fr-FR" sz="2000" dirty="0">
                          <a:effectLst/>
                        </a:rPr>
                        <a:t>Réception et paiement par chèque de la facture de nettoyage des locaux</a:t>
                      </a:r>
                      <a:endParaRPr lang="fr-FR" sz="20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2000" dirty="0">
                          <a:effectLst/>
                        </a:rPr>
                        <a:t> </a:t>
                      </a:r>
                      <a:endParaRPr lang="fr-FR" sz="20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/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2000" dirty="0">
                          <a:effectLst/>
                        </a:rPr>
                        <a:t> </a:t>
                      </a:r>
                      <a:endParaRPr lang="fr-FR" sz="20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/>
                </a:tc>
                <a:extLst>
                  <a:ext uri="{0D108BD9-81ED-4DB2-BD59-A6C34878D82A}">
                    <a16:rowId xmlns:a16="http://schemas.microsoft.com/office/drawing/2014/main" val="610546443"/>
                  </a:ext>
                </a:extLst>
              </a:tr>
              <a:tr h="775644">
                <a:tc>
                  <a:txBody>
                    <a:bodyPr/>
                    <a:lstStyle/>
                    <a:p>
                      <a:pPr algn="ctr"/>
                      <a:r>
                        <a:rPr lang="fr-FR" sz="2000">
                          <a:effectLst/>
                        </a:rPr>
                        <a:t> </a:t>
                      </a:r>
                      <a:endParaRPr lang="fr-FR" sz="20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/>
                </a:tc>
                <a:tc gridSpan="3">
                  <a:txBody>
                    <a:bodyPr/>
                    <a:lstStyle/>
                    <a:p>
                      <a:pPr algn="just"/>
                      <a:r>
                        <a:rPr lang="fr-FR" sz="2000">
                          <a:effectLst/>
                        </a:rPr>
                        <a:t> </a:t>
                      </a:r>
                      <a:endParaRPr lang="fr-FR" sz="20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2000">
                          <a:effectLst/>
                        </a:rPr>
                        <a:t> </a:t>
                      </a:r>
                      <a:endParaRPr lang="fr-FR" sz="20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/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2000" dirty="0">
                          <a:effectLst/>
                        </a:rPr>
                        <a:t> </a:t>
                      </a:r>
                      <a:endParaRPr lang="fr-FR" sz="20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/>
                </a:tc>
                <a:extLst>
                  <a:ext uri="{0D108BD9-81ED-4DB2-BD59-A6C34878D82A}">
                    <a16:rowId xmlns:a16="http://schemas.microsoft.com/office/drawing/2014/main" val="157006999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810924798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Espace réservé du contenu 12">
            <a:extLst>
              <a:ext uri="{FF2B5EF4-FFF2-40B4-BE49-F238E27FC236}">
                <a16:creationId xmlns:a16="http://schemas.microsoft.com/office/drawing/2014/main" id="{6EB9F717-B5A8-4A5D-B160-A8BE78AE15BF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4259187490"/>
              </p:ext>
            </p:extLst>
          </p:nvPr>
        </p:nvGraphicFramePr>
        <p:xfrm>
          <a:off x="233916" y="202019"/>
          <a:ext cx="11302409" cy="6516210"/>
        </p:xfrm>
        <a:graphic>
          <a:graphicData uri="http://schemas.openxmlformats.org/drawingml/2006/table">
            <a:tbl>
              <a:tblPr/>
              <a:tblGrid>
                <a:gridCol w="1297544">
                  <a:extLst>
                    <a:ext uri="{9D8B030D-6E8A-4147-A177-3AD203B41FA5}">
                      <a16:colId xmlns:a16="http://schemas.microsoft.com/office/drawing/2014/main" val="1558390204"/>
                    </a:ext>
                  </a:extLst>
                </a:gridCol>
                <a:gridCol w="2437774">
                  <a:extLst>
                    <a:ext uri="{9D8B030D-6E8A-4147-A177-3AD203B41FA5}">
                      <a16:colId xmlns:a16="http://schemas.microsoft.com/office/drawing/2014/main" val="3401556463"/>
                    </a:ext>
                  </a:extLst>
                </a:gridCol>
                <a:gridCol w="1180419">
                  <a:extLst>
                    <a:ext uri="{9D8B030D-6E8A-4147-A177-3AD203B41FA5}">
                      <a16:colId xmlns:a16="http://schemas.microsoft.com/office/drawing/2014/main" val="4124096565"/>
                    </a:ext>
                  </a:extLst>
                </a:gridCol>
                <a:gridCol w="3995975">
                  <a:extLst>
                    <a:ext uri="{9D8B030D-6E8A-4147-A177-3AD203B41FA5}">
                      <a16:colId xmlns:a16="http://schemas.microsoft.com/office/drawing/2014/main" val="1413609799"/>
                    </a:ext>
                  </a:extLst>
                </a:gridCol>
                <a:gridCol w="1343475">
                  <a:extLst>
                    <a:ext uri="{9D8B030D-6E8A-4147-A177-3AD203B41FA5}">
                      <a16:colId xmlns:a16="http://schemas.microsoft.com/office/drawing/2014/main" val="1382514693"/>
                    </a:ext>
                  </a:extLst>
                </a:gridCol>
                <a:gridCol w="1047222">
                  <a:extLst>
                    <a:ext uri="{9D8B030D-6E8A-4147-A177-3AD203B41FA5}">
                      <a16:colId xmlns:a16="http://schemas.microsoft.com/office/drawing/2014/main" val="499688974"/>
                    </a:ext>
                  </a:extLst>
                </a:gridCol>
              </a:tblGrid>
              <a:tr h="199480">
                <a:tc>
                  <a:txBody>
                    <a:bodyPr/>
                    <a:lstStyle/>
                    <a:p>
                      <a:pPr algn="ctr"/>
                      <a:r>
                        <a:rPr lang="fr-FR" sz="12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fr-FR" sz="12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2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03/11</a:t>
                      </a:r>
                    </a:p>
                  </a:txBody>
                  <a:tcPr marL="44450" marR="4445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2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44450" marR="44450" marT="0" marB="0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2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2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3179388"/>
                  </a:ext>
                </a:extLst>
              </a:tr>
              <a:tr h="199480">
                <a:tc>
                  <a:txBody>
                    <a:bodyPr/>
                    <a:lstStyle/>
                    <a:p>
                      <a:pPr algn="ctr"/>
                      <a:r>
                        <a:rPr lang="fr-FR" sz="12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401</a:t>
                      </a: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fr-FR" sz="12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Fournisseur</a:t>
                      </a: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2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44450" marR="4445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2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44450" marR="44450" marT="0" marB="0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2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32 000,00</a:t>
                      </a: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2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27055096"/>
                  </a:ext>
                </a:extLst>
              </a:tr>
              <a:tr h="376750">
                <a:tc>
                  <a:txBody>
                    <a:bodyPr/>
                    <a:lstStyle/>
                    <a:p>
                      <a:pPr algn="ctr"/>
                      <a:r>
                        <a:rPr lang="fr-FR" sz="12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512</a:t>
                      </a: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fr-FR" sz="12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r"/>
                      <a:r>
                        <a:rPr lang="fr-FR" sz="12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Banque</a:t>
                      </a:r>
                    </a:p>
                  </a:txBody>
                  <a:tcPr marL="44450" marR="44450" marT="0" marB="0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2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2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32 000,00</a:t>
                      </a: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55859879"/>
                  </a:ext>
                </a:extLst>
              </a:tr>
              <a:tr h="199480">
                <a:tc>
                  <a:txBody>
                    <a:bodyPr/>
                    <a:lstStyle/>
                    <a:p>
                      <a:pPr algn="ctr"/>
                      <a:r>
                        <a:rPr lang="fr-FR" sz="12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3">
                  <a:txBody>
                    <a:bodyPr/>
                    <a:lstStyle/>
                    <a:p>
                      <a:pPr algn="just"/>
                      <a:r>
                        <a:rPr lang="fr-FR" sz="12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Règlement d’un fournisseur, par chèque.</a:t>
                      </a: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2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2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39559670"/>
                  </a:ext>
                </a:extLst>
              </a:tr>
              <a:tr h="199480">
                <a:tc>
                  <a:txBody>
                    <a:bodyPr/>
                    <a:lstStyle/>
                    <a:p>
                      <a:pPr algn="ctr"/>
                      <a:r>
                        <a:rPr lang="fr-FR" sz="12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fr-FR" sz="12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r"/>
                      <a:r>
                        <a:rPr lang="fr-FR" sz="12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44450" marR="44450" marT="0" marB="0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2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2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07981500"/>
                  </a:ext>
                </a:extLst>
              </a:tr>
              <a:tr h="199480">
                <a:tc>
                  <a:txBody>
                    <a:bodyPr/>
                    <a:lstStyle/>
                    <a:p>
                      <a:pPr algn="ctr"/>
                      <a:r>
                        <a:rPr lang="fr-FR" sz="12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fr-FR" sz="12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2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04/11</a:t>
                      </a:r>
                    </a:p>
                  </a:txBody>
                  <a:tcPr marL="44450" marR="4445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2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44450" marR="44450" marT="0" marB="0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2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2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65876247"/>
                  </a:ext>
                </a:extLst>
              </a:tr>
              <a:tr h="199480">
                <a:tc>
                  <a:txBody>
                    <a:bodyPr/>
                    <a:lstStyle/>
                    <a:p>
                      <a:pPr algn="ctr"/>
                      <a:r>
                        <a:rPr lang="fr-FR" sz="12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63511</a:t>
                      </a: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just"/>
                      <a:r>
                        <a:rPr lang="fr-FR" sz="12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Cotisation économique territoriale</a:t>
                      </a: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2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44450" marR="44450" marT="0" marB="0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2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5 000,00</a:t>
                      </a: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2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41512028"/>
                  </a:ext>
                </a:extLst>
              </a:tr>
              <a:tr h="376750">
                <a:tc>
                  <a:txBody>
                    <a:bodyPr/>
                    <a:lstStyle/>
                    <a:p>
                      <a:pPr algn="ctr"/>
                      <a:r>
                        <a:rPr lang="fr-FR" sz="12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44</a:t>
                      </a: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fr-FR" sz="12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r"/>
                      <a:r>
                        <a:rPr lang="fr-FR" sz="12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Etat</a:t>
                      </a:r>
                    </a:p>
                  </a:txBody>
                  <a:tcPr marL="44450" marR="44450" marT="0" marB="0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2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2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5 000,00</a:t>
                      </a: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28117428"/>
                  </a:ext>
                </a:extLst>
              </a:tr>
              <a:tr h="199480">
                <a:tc>
                  <a:txBody>
                    <a:bodyPr/>
                    <a:lstStyle/>
                    <a:p>
                      <a:pPr algn="ctr"/>
                      <a:r>
                        <a:rPr lang="fr-FR" sz="12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3">
                  <a:txBody>
                    <a:bodyPr/>
                    <a:lstStyle/>
                    <a:p>
                      <a:pPr algn="just"/>
                      <a:r>
                        <a:rPr lang="fr-FR" sz="12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Reçu l'avis de la cotisation économique territoriale (CET).</a:t>
                      </a: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2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2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35243815"/>
                  </a:ext>
                </a:extLst>
              </a:tr>
              <a:tr h="199480">
                <a:tc>
                  <a:txBody>
                    <a:bodyPr/>
                    <a:lstStyle/>
                    <a:p>
                      <a:pPr algn="ctr"/>
                      <a:r>
                        <a:rPr lang="fr-FR" sz="12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fr-FR" sz="12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r"/>
                      <a:r>
                        <a:rPr lang="fr-FR" sz="12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44450" marR="44450" marT="0" marB="0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2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2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56177218"/>
                  </a:ext>
                </a:extLst>
              </a:tr>
              <a:tr h="199480">
                <a:tc>
                  <a:txBody>
                    <a:bodyPr/>
                    <a:lstStyle/>
                    <a:p>
                      <a:pPr algn="ctr"/>
                      <a:r>
                        <a:rPr lang="fr-FR" sz="12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fr-FR" sz="12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2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05/11</a:t>
                      </a:r>
                    </a:p>
                  </a:txBody>
                  <a:tcPr marL="44450" marR="4445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2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44450" marR="44450" marT="0" marB="0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2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2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8273692"/>
                  </a:ext>
                </a:extLst>
              </a:tr>
              <a:tr h="199480">
                <a:tc>
                  <a:txBody>
                    <a:bodyPr/>
                    <a:lstStyle/>
                    <a:p>
                      <a:pPr algn="ctr"/>
                      <a:r>
                        <a:rPr lang="fr-FR" sz="12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183</a:t>
                      </a: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>
                        <a:spcAft>
                          <a:spcPts val="1200"/>
                        </a:spcAft>
                      </a:pPr>
                      <a:r>
                        <a:rPr lang="fr-FR" sz="1200" b="0" u="sng" kern="1600">
                          <a:effectLst/>
                          <a:latin typeface="Times New Roman" panose="02020603050405020304" pitchFamily="18" charset="0"/>
                          <a:cs typeface="Arial" panose="020B0604020202020204" pitchFamily="34" charset="0"/>
                        </a:rPr>
                        <a:t>Matériel informatique</a:t>
                      </a:r>
                      <a:endParaRPr lang="fr-FR" sz="1200" b="1" u="sng" kern="1600">
                        <a:effectLst/>
                        <a:latin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2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44450" marR="44450" marT="0" marB="0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2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 500,00</a:t>
                      </a: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2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49581157"/>
                  </a:ext>
                </a:extLst>
              </a:tr>
              <a:tr h="199480">
                <a:tc>
                  <a:txBody>
                    <a:bodyPr/>
                    <a:lstStyle/>
                    <a:p>
                      <a:pPr algn="ctr"/>
                      <a:r>
                        <a:rPr lang="fr-FR" sz="12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512</a:t>
                      </a: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fr-FR" sz="12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2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44450" marR="4445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2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Banque</a:t>
                      </a:r>
                    </a:p>
                  </a:txBody>
                  <a:tcPr marL="44450" marR="44450" marT="0" marB="0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2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2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625,00</a:t>
                      </a: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55887058"/>
                  </a:ext>
                </a:extLst>
              </a:tr>
              <a:tr h="199480">
                <a:tc>
                  <a:txBody>
                    <a:bodyPr/>
                    <a:lstStyle/>
                    <a:p>
                      <a:pPr algn="ctr"/>
                      <a:r>
                        <a:rPr lang="fr-FR" sz="12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404</a:t>
                      </a: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fr-FR" sz="12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r"/>
                      <a:r>
                        <a:rPr lang="fr-FR" sz="12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Fournisseur d’immobilisation</a:t>
                      </a:r>
                    </a:p>
                  </a:txBody>
                  <a:tcPr marL="44450" marR="44450" marT="0" marB="0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2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2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 875,00</a:t>
                      </a: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96533828"/>
                  </a:ext>
                </a:extLst>
              </a:tr>
              <a:tr h="199480">
                <a:tc>
                  <a:txBody>
                    <a:bodyPr/>
                    <a:lstStyle/>
                    <a:p>
                      <a:pPr algn="ctr"/>
                      <a:r>
                        <a:rPr lang="fr-FR" sz="12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3">
                  <a:txBody>
                    <a:bodyPr/>
                    <a:lstStyle/>
                    <a:p>
                      <a:pPr algn="just"/>
                      <a:r>
                        <a:rPr lang="fr-FR" sz="12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Acquisition d'un ordinateur, règlement de 25 % par chèque, le reste à crédit.</a:t>
                      </a: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2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2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12241349"/>
                  </a:ext>
                </a:extLst>
              </a:tr>
              <a:tr h="199480">
                <a:tc>
                  <a:txBody>
                    <a:bodyPr/>
                    <a:lstStyle/>
                    <a:p>
                      <a:pPr algn="ctr"/>
                      <a:r>
                        <a:rPr lang="fr-FR" sz="12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fr-FR" sz="12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r"/>
                      <a:r>
                        <a:rPr lang="fr-FR" sz="12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44450" marR="44450" marT="0" marB="0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2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2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84147548"/>
                  </a:ext>
                </a:extLst>
              </a:tr>
              <a:tr h="199480">
                <a:tc>
                  <a:txBody>
                    <a:bodyPr/>
                    <a:lstStyle/>
                    <a:p>
                      <a:pPr algn="ctr"/>
                      <a:r>
                        <a:rPr lang="fr-FR" sz="12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fr-FR" sz="12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2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06/11</a:t>
                      </a:r>
                    </a:p>
                  </a:txBody>
                  <a:tcPr marL="44450" marR="4445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2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44450" marR="44450" marT="0" marB="0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2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2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78562121"/>
                  </a:ext>
                </a:extLst>
              </a:tr>
              <a:tr h="199480">
                <a:tc>
                  <a:txBody>
                    <a:bodyPr/>
                    <a:lstStyle/>
                    <a:p>
                      <a:pPr algn="ctr"/>
                      <a:r>
                        <a:rPr lang="fr-FR" sz="12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6061</a:t>
                      </a: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>
                        <a:spcAft>
                          <a:spcPts val="1200"/>
                        </a:spcAft>
                      </a:pPr>
                      <a:r>
                        <a:rPr lang="fr-FR" sz="1200" b="0" u="sng" kern="1600">
                          <a:effectLst/>
                          <a:latin typeface="Times New Roman" panose="02020603050405020304" pitchFamily="18" charset="0"/>
                          <a:cs typeface="Arial" panose="020B0604020202020204" pitchFamily="34" charset="0"/>
                        </a:rPr>
                        <a:t>Fournitures non stockables</a:t>
                      </a:r>
                      <a:endParaRPr lang="fr-FR" sz="1200" b="1" u="sng" kern="1600">
                        <a:effectLst/>
                        <a:latin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2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44450" marR="44450" marT="0" marB="0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2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 300,00</a:t>
                      </a: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2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60404471"/>
                  </a:ext>
                </a:extLst>
              </a:tr>
              <a:tr h="199480">
                <a:tc>
                  <a:txBody>
                    <a:bodyPr/>
                    <a:lstStyle/>
                    <a:p>
                      <a:pPr algn="ctr"/>
                      <a:r>
                        <a:rPr lang="fr-FR" sz="12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512</a:t>
                      </a: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3">
                  <a:txBody>
                    <a:bodyPr/>
                    <a:lstStyle/>
                    <a:p>
                      <a:pPr algn="r">
                        <a:tabLst>
                          <a:tab pos="449580" algn="l"/>
                        </a:tabLst>
                      </a:pPr>
                      <a:r>
                        <a:rPr lang="fr-FR" sz="12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Banque</a:t>
                      </a: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2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2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 300,00</a:t>
                      </a: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35714854"/>
                  </a:ext>
                </a:extLst>
              </a:tr>
              <a:tr h="199480">
                <a:tc>
                  <a:txBody>
                    <a:bodyPr/>
                    <a:lstStyle/>
                    <a:p>
                      <a:pPr algn="ctr"/>
                      <a:r>
                        <a:rPr lang="fr-FR" sz="12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3">
                  <a:txBody>
                    <a:bodyPr/>
                    <a:lstStyle/>
                    <a:p>
                      <a:pPr algn="r">
                        <a:tabLst>
                          <a:tab pos="449580" algn="l"/>
                        </a:tabLst>
                      </a:pPr>
                      <a:r>
                        <a:rPr lang="fr-FR" sz="12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Reçu et payé par chèque la facture EDF.</a:t>
                      </a: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2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2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9197380"/>
                  </a:ext>
                </a:extLst>
              </a:tr>
              <a:tr h="199480">
                <a:tc>
                  <a:txBody>
                    <a:bodyPr/>
                    <a:lstStyle/>
                    <a:p>
                      <a:pPr algn="ctr"/>
                      <a:r>
                        <a:rPr lang="fr-FR" sz="12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3">
                  <a:txBody>
                    <a:bodyPr/>
                    <a:lstStyle/>
                    <a:p>
                      <a:pPr algn="r">
                        <a:tabLst>
                          <a:tab pos="449580" algn="l"/>
                        </a:tabLst>
                      </a:pPr>
                      <a:r>
                        <a:rPr lang="fr-FR" sz="12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2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2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21901944"/>
                  </a:ext>
                </a:extLst>
              </a:tr>
              <a:tr h="199480">
                <a:tc>
                  <a:txBody>
                    <a:bodyPr/>
                    <a:lstStyle/>
                    <a:p>
                      <a:pPr algn="ctr"/>
                      <a:r>
                        <a:rPr lang="fr-FR" sz="12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fr-FR" sz="12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2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07/11</a:t>
                      </a:r>
                    </a:p>
                  </a:txBody>
                  <a:tcPr marL="44450" marR="4445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2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44450" marR="44450" marT="0" marB="0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2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2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12928542"/>
                  </a:ext>
                </a:extLst>
              </a:tr>
              <a:tr h="199480">
                <a:tc>
                  <a:txBody>
                    <a:bodyPr/>
                    <a:lstStyle/>
                    <a:p>
                      <a:pPr algn="ctr"/>
                      <a:r>
                        <a:rPr lang="fr-FR" sz="12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6281</a:t>
                      </a: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fr-FR" sz="12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Cotisations</a:t>
                      </a: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2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44450" marR="4445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2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44450" marR="44450" marT="0" marB="0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2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8 000,00</a:t>
                      </a: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2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96139625"/>
                  </a:ext>
                </a:extLst>
              </a:tr>
              <a:tr h="199480">
                <a:tc>
                  <a:txBody>
                    <a:bodyPr/>
                    <a:lstStyle/>
                    <a:p>
                      <a:pPr algn="ctr"/>
                      <a:r>
                        <a:rPr lang="fr-FR" sz="12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512</a:t>
                      </a: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fr-FR" sz="12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2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44450" marR="4445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2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Banque</a:t>
                      </a:r>
                    </a:p>
                  </a:txBody>
                  <a:tcPr marL="44450" marR="44450" marT="0" marB="0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2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2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8 000,00</a:t>
                      </a: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67227150"/>
                  </a:ext>
                </a:extLst>
              </a:tr>
              <a:tr h="376750">
                <a:tc>
                  <a:txBody>
                    <a:bodyPr/>
                    <a:lstStyle/>
                    <a:p>
                      <a:pPr algn="ctr"/>
                      <a:r>
                        <a:rPr lang="fr-FR" sz="12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3">
                  <a:txBody>
                    <a:bodyPr/>
                    <a:lstStyle/>
                    <a:p>
                      <a:pPr algn="just"/>
                      <a:r>
                        <a:rPr lang="fr-FR" sz="12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Enregistrement et paiement d’une cotisation à un syndicat professionnel par chèque.</a:t>
                      </a: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2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2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48028092"/>
                  </a:ext>
                </a:extLst>
              </a:tr>
              <a:tr h="199480">
                <a:tc>
                  <a:txBody>
                    <a:bodyPr/>
                    <a:lstStyle/>
                    <a:p>
                      <a:pPr algn="ctr"/>
                      <a:r>
                        <a:rPr lang="fr-FR" sz="12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fr-FR" sz="12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2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44450" marR="4445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2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44450" marR="44450" marT="0" marB="0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2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2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38148840"/>
                  </a:ext>
                </a:extLst>
              </a:tr>
              <a:tr h="199480">
                <a:tc>
                  <a:txBody>
                    <a:bodyPr/>
                    <a:lstStyle/>
                    <a:p>
                      <a:pPr algn="ctr"/>
                      <a:r>
                        <a:rPr lang="fr-FR" sz="12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fr-FR" sz="12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2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08/11</a:t>
                      </a:r>
                    </a:p>
                  </a:txBody>
                  <a:tcPr marL="44450" marR="4445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2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44450" marR="44450" marT="0" marB="0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2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2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33800761"/>
                  </a:ext>
                </a:extLst>
              </a:tr>
              <a:tr h="199480">
                <a:tc>
                  <a:txBody>
                    <a:bodyPr/>
                    <a:lstStyle/>
                    <a:p>
                      <a:pPr algn="ctr"/>
                      <a:r>
                        <a:rPr lang="fr-FR" sz="12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512</a:t>
                      </a: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fr-FR" sz="12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Banque</a:t>
                      </a: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2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44450" marR="4445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2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44450" marR="44450" marT="0" marB="0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2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 800,00</a:t>
                      </a: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2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21198783"/>
                  </a:ext>
                </a:extLst>
              </a:tr>
              <a:tr h="199480">
                <a:tc>
                  <a:txBody>
                    <a:bodyPr/>
                    <a:lstStyle/>
                    <a:p>
                      <a:pPr algn="ctr"/>
                      <a:r>
                        <a:rPr lang="fr-FR" sz="12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411</a:t>
                      </a: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fr-FR" sz="12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2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44450" marR="4445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2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Clients</a:t>
                      </a:r>
                    </a:p>
                  </a:txBody>
                  <a:tcPr marL="44450" marR="44450" marT="0" marB="0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2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2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 800,00</a:t>
                      </a: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96718496"/>
                  </a:ext>
                </a:extLst>
              </a:tr>
              <a:tr h="199480">
                <a:tc>
                  <a:txBody>
                    <a:bodyPr/>
                    <a:lstStyle/>
                    <a:p>
                      <a:pPr algn="ctr"/>
                      <a:r>
                        <a:rPr lang="fr-FR" sz="12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3">
                  <a:txBody>
                    <a:bodyPr/>
                    <a:lstStyle/>
                    <a:p>
                      <a:pPr algn="just"/>
                      <a:r>
                        <a:rPr lang="fr-FR" sz="12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Reçu chèque d’un client.</a:t>
                      </a: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2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2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3596603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480198139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84" name="Rectangle 83">
            <a:extLst>
              <a:ext uri="{FF2B5EF4-FFF2-40B4-BE49-F238E27FC236}">
                <a16:creationId xmlns:a16="http://schemas.microsoft.com/office/drawing/2014/main" id="{23E547B5-89CF-4EC0-96DE-25771AED079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6" name="Rectangle 85">
            <a:extLst>
              <a:ext uri="{FF2B5EF4-FFF2-40B4-BE49-F238E27FC236}">
                <a16:creationId xmlns:a16="http://schemas.microsoft.com/office/drawing/2014/main" id="{3F0B8CEB-8279-4E5E-A0CE-1FC9F71736F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770782" y="0"/>
            <a:ext cx="7421217" cy="6857999"/>
          </a:xfrm>
          <a:prstGeom prst="rect">
            <a:avLst/>
          </a:prstGeom>
          <a:solidFill>
            <a:srgbClr val="82766A">
              <a:alpha val="1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02517F6E-26E9-44E8-815E-774552D95FD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320466" y="609600"/>
            <a:ext cx="4140014" cy="1330839"/>
          </a:xfrm>
          <a:prstGeom prst="ellipse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br>
              <a:rPr lang="en-US" sz="2800" dirty="0"/>
            </a:br>
            <a:endParaRPr lang="en-US" sz="2800" dirty="0"/>
          </a:p>
        </p:txBody>
      </p:sp>
      <p:pic>
        <p:nvPicPr>
          <p:cNvPr id="36" name="Picture 35">
            <a:extLst>
              <a:ext uri="{FF2B5EF4-FFF2-40B4-BE49-F238E27FC236}">
                <a16:creationId xmlns:a16="http://schemas.microsoft.com/office/drawing/2014/main" id="{FC9EF324-339C-4E46-9508-BF0C86AAC793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5"/>
              </a:ext>
            </a:extLst>
          </a:blip>
          <a:srcRect l="16675" r="16676" b="1"/>
          <a:stretch/>
        </p:blipFill>
        <p:spPr>
          <a:xfrm>
            <a:off x="20" y="10"/>
            <a:ext cx="6901711" cy="6857990"/>
          </a:xfrm>
          <a:custGeom>
            <a:avLst/>
            <a:gdLst/>
            <a:ahLst/>
            <a:cxnLst/>
            <a:rect l="l" t="t" r="r" b="b"/>
            <a:pathLst>
              <a:path w="6901731" h="6858000">
                <a:moveTo>
                  <a:pt x="0" y="0"/>
                </a:moveTo>
                <a:lnTo>
                  <a:pt x="6897896" y="5958"/>
                </a:lnTo>
                <a:lnTo>
                  <a:pt x="6866823" y="62592"/>
                </a:lnTo>
                <a:lnTo>
                  <a:pt x="6901731" y="89476"/>
                </a:lnTo>
                <a:lnTo>
                  <a:pt x="6901731" y="103833"/>
                </a:lnTo>
                <a:lnTo>
                  <a:pt x="6900034" y="110092"/>
                </a:lnTo>
                <a:lnTo>
                  <a:pt x="6901731" y="113679"/>
                </a:lnTo>
                <a:lnTo>
                  <a:pt x="6901731" y="405560"/>
                </a:lnTo>
                <a:lnTo>
                  <a:pt x="6900456" y="429509"/>
                </a:lnTo>
                <a:cubicBezTo>
                  <a:pt x="6892773" y="535647"/>
                  <a:pt x="6878314" y="537918"/>
                  <a:pt x="6886342" y="636808"/>
                </a:cubicBezTo>
                <a:cubicBezTo>
                  <a:pt x="6892506" y="756883"/>
                  <a:pt x="6864504" y="771443"/>
                  <a:pt x="6851784" y="839073"/>
                </a:cubicBezTo>
                <a:cubicBezTo>
                  <a:pt x="6838675" y="892655"/>
                  <a:pt x="6864124" y="961738"/>
                  <a:pt x="6845760" y="994930"/>
                </a:cubicBezTo>
                <a:cubicBezTo>
                  <a:pt x="6833572" y="1024166"/>
                  <a:pt x="6859282" y="1058905"/>
                  <a:pt x="6845601" y="1112932"/>
                </a:cubicBezTo>
                <a:cubicBezTo>
                  <a:pt x="6838700" y="1149910"/>
                  <a:pt x="6829138" y="1151035"/>
                  <a:pt x="6820235" y="1187433"/>
                </a:cubicBezTo>
                <a:cubicBezTo>
                  <a:pt x="6815504" y="1196464"/>
                  <a:pt x="6777707" y="1338549"/>
                  <a:pt x="6759643" y="1337010"/>
                </a:cubicBezTo>
                <a:cubicBezTo>
                  <a:pt x="6737660" y="1337296"/>
                  <a:pt x="6760650" y="1396341"/>
                  <a:pt x="6736375" y="1382272"/>
                </a:cubicBezTo>
                <a:cubicBezTo>
                  <a:pt x="6755741" y="1415836"/>
                  <a:pt x="6714675" y="1414567"/>
                  <a:pt x="6701292" y="1432111"/>
                </a:cubicBezTo>
                <a:cubicBezTo>
                  <a:pt x="6721110" y="1460185"/>
                  <a:pt x="6692106" y="1490815"/>
                  <a:pt x="6686578" y="1518624"/>
                </a:cubicBezTo>
                <a:cubicBezTo>
                  <a:pt x="6682512" y="1567002"/>
                  <a:pt x="6679579" y="1571443"/>
                  <a:pt x="6670824" y="1607743"/>
                </a:cubicBezTo>
                <a:cubicBezTo>
                  <a:pt x="6671133" y="1629590"/>
                  <a:pt x="6663161" y="1656870"/>
                  <a:pt x="6664392" y="1696405"/>
                </a:cubicBezTo>
                <a:cubicBezTo>
                  <a:pt x="6655686" y="1770486"/>
                  <a:pt x="6641938" y="1757082"/>
                  <a:pt x="6642880" y="1812372"/>
                </a:cubicBezTo>
                <a:cubicBezTo>
                  <a:pt x="6638579" y="1872475"/>
                  <a:pt x="6619231" y="1825476"/>
                  <a:pt x="6612547" y="1876437"/>
                </a:cubicBezTo>
                <a:cubicBezTo>
                  <a:pt x="6600695" y="1913834"/>
                  <a:pt x="6591061" y="1923231"/>
                  <a:pt x="6571760" y="1953331"/>
                </a:cubicBezTo>
                <a:cubicBezTo>
                  <a:pt x="6561039" y="1989021"/>
                  <a:pt x="6544090" y="2087896"/>
                  <a:pt x="6520213" y="2096455"/>
                </a:cubicBezTo>
                <a:lnTo>
                  <a:pt x="6492461" y="2188148"/>
                </a:lnTo>
                <a:cubicBezTo>
                  <a:pt x="6504372" y="2211333"/>
                  <a:pt x="6489131" y="2253220"/>
                  <a:pt x="6471854" y="2259117"/>
                </a:cubicBezTo>
                <a:cubicBezTo>
                  <a:pt x="6466151" y="2287829"/>
                  <a:pt x="6440452" y="2301346"/>
                  <a:pt x="6439832" y="2328334"/>
                </a:cubicBezTo>
                <a:cubicBezTo>
                  <a:pt x="6431013" y="2351201"/>
                  <a:pt x="6444250" y="2396409"/>
                  <a:pt x="6425162" y="2408211"/>
                </a:cubicBezTo>
                <a:lnTo>
                  <a:pt x="6417221" y="2427382"/>
                </a:lnTo>
                <a:lnTo>
                  <a:pt x="6425030" y="2464387"/>
                </a:lnTo>
                <a:lnTo>
                  <a:pt x="6406293" y="2472223"/>
                </a:lnTo>
                <a:cubicBezTo>
                  <a:pt x="6406862" y="2477277"/>
                  <a:pt x="6406486" y="2491723"/>
                  <a:pt x="6405400" y="2493547"/>
                </a:cubicBezTo>
                <a:lnTo>
                  <a:pt x="6374829" y="2532070"/>
                </a:lnTo>
                <a:cubicBezTo>
                  <a:pt x="6374597" y="2545374"/>
                  <a:pt x="6360976" y="2563797"/>
                  <a:pt x="6350864" y="2577422"/>
                </a:cubicBezTo>
                <a:cubicBezTo>
                  <a:pt x="6327056" y="2632768"/>
                  <a:pt x="6341262" y="2616275"/>
                  <a:pt x="6329174" y="2663854"/>
                </a:cubicBezTo>
                <a:cubicBezTo>
                  <a:pt x="6326303" y="2703642"/>
                  <a:pt x="6332854" y="2709643"/>
                  <a:pt x="6315095" y="2741507"/>
                </a:cubicBezTo>
                <a:cubicBezTo>
                  <a:pt x="6319921" y="2740191"/>
                  <a:pt x="6321925" y="2742004"/>
                  <a:pt x="6322463" y="2745641"/>
                </a:cubicBezTo>
                <a:cubicBezTo>
                  <a:pt x="6322245" y="2747982"/>
                  <a:pt x="6322027" y="2750323"/>
                  <a:pt x="6321808" y="2752663"/>
                </a:cubicBezTo>
                <a:lnTo>
                  <a:pt x="6314569" y="2756718"/>
                </a:lnTo>
                <a:cubicBezTo>
                  <a:pt x="6289324" y="2773686"/>
                  <a:pt x="6317551" y="2780051"/>
                  <a:pt x="6315211" y="2811618"/>
                </a:cubicBezTo>
                <a:cubicBezTo>
                  <a:pt x="6315620" y="2826627"/>
                  <a:pt x="6296047" y="2885298"/>
                  <a:pt x="6302211" y="2882314"/>
                </a:cubicBezTo>
                <a:lnTo>
                  <a:pt x="6286167" y="2949597"/>
                </a:lnTo>
                <a:cubicBezTo>
                  <a:pt x="6286401" y="2994618"/>
                  <a:pt x="6286615" y="2971464"/>
                  <a:pt x="6287037" y="3008578"/>
                </a:cubicBezTo>
                <a:cubicBezTo>
                  <a:pt x="6293795" y="3029535"/>
                  <a:pt x="6274405" y="3114154"/>
                  <a:pt x="6259150" y="3123139"/>
                </a:cubicBezTo>
                <a:cubicBezTo>
                  <a:pt x="6250085" y="3189063"/>
                  <a:pt x="6269067" y="3151280"/>
                  <a:pt x="6272249" y="3227854"/>
                </a:cubicBezTo>
                <a:cubicBezTo>
                  <a:pt x="6278775" y="3295842"/>
                  <a:pt x="6289216" y="3303765"/>
                  <a:pt x="6292288" y="3378383"/>
                </a:cubicBezTo>
                <a:cubicBezTo>
                  <a:pt x="6303894" y="3395995"/>
                  <a:pt x="6287498" y="3432581"/>
                  <a:pt x="6288328" y="3459618"/>
                </a:cubicBezTo>
                <a:cubicBezTo>
                  <a:pt x="6289158" y="3486653"/>
                  <a:pt x="6299937" y="3538735"/>
                  <a:pt x="6297272" y="3540603"/>
                </a:cubicBezTo>
                <a:cubicBezTo>
                  <a:pt x="6296849" y="3577379"/>
                  <a:pt x="6294184" y="3587943"/>
                  <a:pt x="6291001" y="3638374"/>
                </a:cubicBezTo>
                <a:cubicBezTo>
                  <a:pt x="6283026" y="3666794"/>
                  <a:pt x="6265833" y="3731744"/>
                  <a:pt x="6283592" y="3763609"/>
                </a:cubicBezTo>
                <a:cubicBezTo>
                  <a:pt x="6264286" y="3758340"/>
                  <a:pt x="6290177" y="3803150"/>
                  <a:pt x="6274068" y="3814506"/>
                </a:cubicBezTo>
                <a:cubicBezTo>
                  <a:pt x="6260645" y="3821643"/>
                  <a:pt x="6265372" y="3836902"/>
                  <a:pt x="6262850" y="3850454"/>
                </a:cubicBezTo>
                <a:cubicBezTo>
                  <a:pt x="6250418" y="3863479"/>
                  <a:pt x="6250660" y="3955243"/>
                  <a:pt x="6257357" y="3975474"/>
                </a:cubicBezTo>
                <a:cubicBezTo>
                  <a:pt x="6245091" y="4036737"/>
                  <a:pt x="6237535" y="4029237"/>
                  <a:pt x="6257889" y="4073155"/>
                </a:cubicBezTo>
                <a:cubicBezTo>
                  <a:pt x="6259272" y="4085906"/>
                  <a:pt x="6239882" y="4116397"/>
                  <a:pt x="6237441" y="4126638"/>
                </a:cubicBezTo>
                <a:lnTo>
                  <a:pt x="6245587" y="4172738"/>
                </a:lnTo>
                <a:lnTo>
                  <a:pt x="6235772" y="4176721"/>
                </a:lnTo>
                <a:lnTo>
                  <a:pt x="6233287" y="4195136"/>
                </a:lnTo>
                <a:lnTo>
                  <a:pt x="6234619" y="4280850"/>
                </a:lnTo>
                <a:cubicBezTo>
                  <a:pt x="6239453" y="4320763"/>
                  <a:pt x="6223309" y="4337596"/>
                  <a:pt x="6219318" y="4402526"/>
                </a:cubicBezTo>
                <a:cubicBezTo>
                  <a:pt x="6205466" y="4516209"/>
                  <a:pt x="6216183" y="4588729"/>
                  <a:pt x="6216810" y="4651172"/>
                </a:cubicBezTo>
                <a:cubicBezTo>
                  <a:pt x="6217673" y="4756959"/>
                  <a:pt x="6228654" y="4824005"/>
                  <a:pt x="6225945" y="4916779"/>
                </a:cubicBezTo>
                <a:cubicBezTo>
                  <a:pt x="6217032" y="4993010"/>
                  <a:pt x="6264271" y="4984591"/>
                  <a:pt x="6230174" y="5051379"/>
                </a:cubicBezTo>
                <a:cubicBezTo>
                  <a:pt x="6235713" y="5056951"/>
                  <a:pt x="6239420" y="5163714"/>
                  <a:pt x="6242600" y="5170879"/>
                </a:cubicBezTo>
                <a:lnTo>
                  <a:pt x="6235996" y="5216428"/>
                </a:lnTo>
                <a:lnTo>
                  <a:pt x="6214638" y="5285298"/>
                </a:lnTo>
                <a:cubicBezTo>
                  <a:pt x="6211392" y="5297492"/>
                  <a:pt x="6225576" y="5312063"/>
                  <a:pt x="6228432" y="5317696"/>
                </a:cubicBezTo>
                <a:lnTo>
                  <a:pt x="6246496" y="5398787"/>
                </a:lnTo>
                <a:lnTo>
                  <a:pt x="6244793" y="5399530"/>
                </a:lnTo>
                <a:lnTo>
                  <a:pt x="6241695" y="5406948"/>
                </a:lnTo>
                <a:lnTo>
                  <a:pt x="6267461" y="5499413"/>
                </a:lnTo>
                <a:cubicBezTo>
                  <a:pt x="6285387" y="5533848"/>
                  <a:pt x="6284888" y="5550029"/>
                  <a:pt x="6295987" y="5582659"/>
                </a:cubicBezTo>
                <a:cubicBezTo>
                  <a:pt x="6311253" y="5681724"/>
                  <a:pt x="6295439" y="5695558"/>
                  <a:pt x="6364803" y="5784263"/>
                </a:cubicBezTo>
                <a:cubicBezTo>
                  <a:pt x="6379348" y="5818651"/>
                  <a:pt x="6412475" y="5906802"/>
                  <a:pt x="6423050" y="5922637"/>
                </a:cubicBezTo>
                <a:cubicBezTo>
                  <a:pt x="6445210" y="5973612"/>
                  <a:pt x="6468179" y="6023873"/>
                  <a:pt x="6497767" y="6090108"/>
                </a:cubicBezTo>
                <a:cubicBezTo>
                  <a:pt x="6571895" y="6150548"/>
                  <a:pt x="6572491" y="6236583"/>
                  <a:pt x="6606710" y="6281543"/>
                </a:cubicBezTo>
                <a:cubicBezTo>
                  <a:pt x="6633675" y="6335892"/>
                  <a:pt x="6654357" y="6388782"/>
                  <a:pt x="6667540" y="6443715"/>
                </a:cubicBezTo>
                <a:cubicBezTo>
                  <a:pt x="6685192" y="6466826"/>
                  <a:pt x="6650500" y="6508701"/>
                  <a:pt x="6659722" y="6550105"/>
                </a:cubicBezTo>
                <a:cubicBezTo>
                  <a:pt x="6665926" y="6645044"/>
                  <a:pt x="6669126" y="6627536"/>
                  <a:pt x="6671805" y="6687397"/>
                </a:cubicBezTo>
                <a:cubicBezTo>
                  <a:pt x="6682671" y="6733683"/>
                  <a:pt x="6665210" y="6772117"/>
                  <a:pt x="6669658" y="6806602"/>
                </a:cubicBezTo>
                <a:cubicBezTo>
                  <a:pt x="6661174" y="6812658"/>
                  <a:pt x="6667097" y="6831470"/>
                  <a:pt x="6675783" y="6850325"/>
                </a:cubicBezTo>
                <a:lnTo>
                  <a:pt x="6679704" y="6858000"/>
                </a:lnTo>
                <a:lnTo>
                  <a:pt x="4532241" y="6858000"/>
                </a:lnTo>
                <a:lnTo>
                  <a:pt x="1208596" y="6858000"/>
                </a:lnTo>
                <a:lnTo>
                  <a:pt x="0" y="6858000"/>
                </a:lnTo>
                <a:close/>
              </a:path>
            </a:pathLst>
          </a:custGeom>
        </p:spPr>
      </p:pic>
      <p:sp>
        <p:nvSpPr>
          <p:cNvPr id="5" name="ZoneTexte 4">
            <a:extLst>
              <a:ext uri="{FF2B5EF4-FFF2-40B4-BE49-F238E27FC236}">
                <a16:creationId xmlns:a16="http://schemas.microsoft.com/office/drawing/2014/main" id="{DFEA2082-E7DE-4453-8158-54F380B94285}"/>
              </a:ext>
            </a:extLst>
          </p:cNvPr>
          <p:cNvSpPr txBox="1"/>
          <p:nvPr/>
        </p:nvSpPr>
        <p:spPr>
          <a:xfrm>
            <a:off x="7320465" y="2194102"/>
            <a:ext cx="4140013" cy="390858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4000" dirty="0"/>
              <a:t>Les </a:t>
            </a:r>
            <a:r>
              <a:rPr lang="en-US" sz="4000" dirty="0" err="1"/>
              <a:t>écritures</a:t>
            </a:r>
            <a:endParaRPr lang="en-US" sz="4000" dirty="0"/>
          </a:p>
          <a:p>
            <a:pPr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n-US" sz="4000" dirty="0"/>
          </a:p>
          <a:p>
            <a:pPr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4000" dirty="0"/>
              <a:t>Cas pratiques </a:t>
            </a:r>
          </a:p>
          <a:p>
            <a:pPr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n-US" sz="4000" dirty="0"/>
          </a:p>
          <a:p>
            <a:pPr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4000" dirty="0"/>
              <a:t>Count 2 et 3</a:t>
            </a:r>
          </a:p>
          <a:p>
            <a:pPr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n-US" sz="2000" dirty="0"/>
          </a:p>
          <a:p>
            <a:pPr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n-US" sz="2000" dirty="0"/>
          </a:p>
        </p:txBody>
      </p:sp>
      <p:sp>
        <p:nvSpPr>
          <p:cNvPr id="4" name="ZoneTexte 3">
            <a:extLst>
              <a:ext uri="{FF2B5EF4-FFF2-40B4-BE49-F238E27FC236}">
                <a16:creationId xmlns:a16="http://schemas.microsoft.com/office/drawing/2014/main" id="{AE196125-F657-4A8D-BF6F-9D35E2A19BAA}"/>
              </a:ext>
            </a:extLst>
          </p:cNvPr>
          <p:cNvSpPr txBox="1"/>
          <p:nvPr/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fr-FR" dirty="0"/>
          </a:p>
        </p:txBody>
      </p:sp>
      <p:sp>
        <p:nvSpPr>
          <p:cNvPr id="23" name="ZoneTexte 2">
            <a:extLst>
              <a:ext uri="{FF2B5EF4-FFF2-40B4-BE49-F238E27FC236}">
                <a16:creationId xmlns:a16="http://schemas.microsoft.com/office/drawing/2014/main" id="{61BA051E-0D20-4CC3-9958-C0CFDE297C40}"/>
              </a:ext>
            </a:extLst>
          </p:cNvPr>
          <p:cNvSpPr txBox="1"/>
          <p:nvPr/>
        </p:nvSpPr>
        <p:spPr>
          <a:xfrm>
            <a:off x="1179226" y="3092970"/>
            <a:ext cx="9833548" cy="269397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fr-FR" sz="2000" dirty="0">
              <a:solidFill>
                <a:srgbClr val="000000"/>
              </a:solidFill>
            </a:endParaRPr>
          </a:p>
          <a:p>
            <a:pPr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fr-FR" sz="2000" dirty="0">
              <a:solidFill>
                <a:srgbClr val="000000"/>
              </a:solidFill>
            </a:endParaRPr>
          </a:p>
          <a:p>
            <a:pPr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fr-FR" sz="2000" dirty="0">
              <a:solidFill>
                <a:srgbClr val="000000"/>
              </a:solidFill>
            </a:endParaRPr>
          </a:p>
        </p:txBody>
      </p:sp>
      <p:grpSp>
        <p:nvGrpSpPr>
          <p:cNvPr id="7" name="Award2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471C68EA-2299-4048-9768-29BE3CCCA72D}"/>
              </a:ext>
            </a:extLst>
          </p:cNvPr>
          <p:cNvGrpSpPr>
            <a:grpSpLocks noChangeAspect="1"/>
          </p:cNvGrpSpPr>
          <p:nvPr>
            <p:custDataLst>
              <p:tags r:id="rId1"/>
            </p:custDataLst>
          </p:nvPr>
        </p:nvGrpSpPr>
        <p:grpSpPr>
          <a:xfrm>
            <a:off x="0" y="0"/>
            <a:ext cx="344587" cy="542925"/>
            <a:chOff x="2585735" y="108789"/>
            <a:chExt cx="344587" cy="542925"/>
          </a:xfrm>
        </p:grpSpPr>
        <p:sp>
          <p:nvSpPr>
            <p:cNvPr id="8" name="Freeform: Shape 206">
              <a:extLst>
                <a:ext uri="{FF2B5EF4-FFF2-40B4-BE49-F238E27FC236}">
                  <a16:creationId xmlns:a16="http://schemas.microsoft.com/office/drawing/2014/main" id="{F1582718-4360-43D7-8A82-7C736EEF1575}"/>
                </a:ext>
              </a:extLst>
            </p:cNvPr>
            <p:cNvSpPr>
              <a:spLocks/>
            </p:cNvSpPr>
            <p:nvPr/>
          </p:nvSpPr>
          <p:spPr bwMode="auto">
            <a:xfrm>
              <a:off x="2585735" y="108789"/>
              <a:ext cx="344587" cy="344988"/>
            </a:xfrm>
            <a:custGeom>
              <a:avLst/>
              <a:gdLst>
                <a:gd name="connsiteX0" fmla="*/ 167961 w 344587"/>
                <a:gd name="connsiteY0" fmla="*/ 276672 h 344988"/>
                <a:gd name="connsiteX1" fmla="*/ 168781 w 344587"/>
                <a:gd name="connsiteY1" fmla="*/ 281441 h 344988"/>
                <a:gd name="connsiteX2" fmla="*/ 165282 w 344587"/>
                <a:gd name="connsiteY2" fmla="*/ 284827 h 344988"/>
                <a:gd name="connsiteX3" fmla="*/ 170121 w 344587"/>
                <a:gd name="connsiteY3" fmla="*/ 285532 h 344988"/>
                <a:gd name="connsiteX4" fmla="*/ 172307 w 344587"/>
                <a:gd name="connsiteY4" fmla="*/ 289894 h 344988"/>
                <a:gd name="connsiteX5" fmla="*/ 174467 w 344587"/>
                <a:gd name="connsiteY5" fmla="*/ 285532 h 344988"/>
                <a:gd name="connsiteX6" fmla="*/ 179306 w 344587"/>
                <a:gd name="connsiteY6" fmla="*/ 284827 h 344988"/>
                <a:gd name="connsiteX7" fmla="*/ 175806 w 344587"/>
                <a:gd name="connsiteY7" fmla="*/ 281441 h 344988"/>
                <a:gd name="connsiteX8" fmla="*/ 176627 w 344587"/>
                <a:gd name="connsiteY8" fmla="*/ 276672 h 344988"/>
                <a:gd name="connsiteX9" fmla="*/ 172307 w 344587"/>
                <a:gd name="connsiteY9" fmla="*/ 278921 h 344988"/>
                <a:gd name="connsiteX10" fmla="*/ 194527 w 344587"/>
                <a:gd name="connsiteY10" fmla="*/ 274468 h 344988"/>
                <a:gd name="connsiteX11" fmla="*/ 190704 w 344587"/>
                <a:gd name="connsiteY11" fmla="*/ 277391 h 344988"/>
                <a:gd name="connsiteX12" fmla="*/ 186127 w 344587"/>
                <a:gd name="connsiteY12" fmla="*/ 275943 h 344988"/>
                <a:gd name="connsiteX13" fmla="*/ 187742 w 344587"/>
                <a:gd name="connsiteY13" fmla="*/ 280475 h 344988"/>
                <a:gd name="connsiteX14" fmla="*/ 184915 w 344587"/>
                <a:gd name="connsiteY14" fmla="*/ 284363 h 344988"/>
                <a:gd name="connsiteX15" fmla="*/ 189761 w 344587"/>
                <a:gd name="connsiteY15" fmla="*/ 284229 h 344988"/>
                <a:gd name="connsiteX16" fmla="*/ 192615 w 344587"/>
                <a:gd name="connsiteY16" fmla="*/ 288091 h 344988"/>
                <a:gd name="connsiteX17" fmla="*/ 193961 w 344587"/>
                <a:gd name="connsiteY17" fmla="*/ 283479 h 344988"/>
                <a:gd name="connsiteX18" fmla="*/ 198538 w 344587"/>
                <a:gd name="connsiteY18" fmla="*/ 281977 h 344988"/>
                <a:gd name="connsiteX19" fmla="*/ 194554 w 344587"/>
                <a:gd name="connsiteY19" fmla="*/ 279268 h 344988"/>
                <a:gd name="connsiteX20" fmla="*/ 149919 w 344587"/>
                <a:gd name="connsiteY20" fmla="*/ 274468 h 344988"/>
                <a:gd name="connsiteX21" fmla="*/ 149892 w 344587"/>
                <a:gd name="connsiteY21" fmla="*/ 279268 h 344988"/>
                <a:gd name="connsiteX22" fmla="*/ 145849 w 344587"/>
                <a:gd name="connsiteY22" fmla="*/ 281977 h 344988"/>
                <a:gd name="connsiteX23" fmla="*/ 150493 w 344587"/>
                <a:gd name="connsiteY23" fmla="*/ 283479 h 344988"/>
                <a:gd name="connsiteX24" fmla="*/ 151859 w 344587"/>
                <a:gd name="connsiteY24" fmla="*/ 288091 h 344988"/>
                <a:gd name="connsiteX25" fmla="*/ 154755 w 344587"/>
                <a:gd name="connsiteY25" fmla="*/ 284229 h 344988"/>
                <a:gd name="connsiteX26" fmla="*/ 159672 w 344587"/>
                <a:gd name="connsiteY26" fmla="*/ 284363 h 344988"/>
                <a:gd name="connsiteX27" fmla="*/ 156804 w 344587"/>
                <a:gd name="connsiteY27" fmla="*/ 280475 h 344988"/>
                <a:gd name="connsiteX28" fmla="*/ 158443 w 344587"/>
                <a:gd name="connsiteY28" fmla="*/ 275943 h 344988"/>
                <a:gd name="connsiteX29" fmla="*/ 153798 w 344587"/>
                <a:gd name="connsiteY29" fmla="*/ 277391 h 344988"/>
                <a:gd name="connsiteX30" fmla="*/ 211844 w 344587"/>
                <a:gd name="connsiteY30" fmla="*/ 268858 h 344988"/>
                <a:gd name="connsiteX31" fmla="*/ 208584 w 344587"/>
                <a:gd name="connsiteY31" fmla="*/ 272467 h 344988"/>
                <a:gd name="connsiteX32" fmla="*/ 203747 w 344587"/>
                <a:gd name="connsiteY32" fmla="*/ 271811 h 344988"/>
                <a:gd name="connsiteX33" fmla="*/ 206165 w 344587"/>
                <a:gd name="connsiteY33" fmla="*/ 276075 h 344988"/>
                <a:gd name="connsiteX34" fmla="*/ 204046 w 344587"/>
                <a:gd name="connsiteY34" fmla="*/ 280504 h 344988"/>
                <a:gd name="connsiteX35" fmla="*/ 208828 w 344587"/>
                <a:gd name="connsiteY35" fmla="*/ 279492 h 344988"/>
                <a:gd name="connsiteX36" fmla="*/ 212334 w 344587"/>
                <a:gd name="connsiteY36" fmla="*/ 282882 h 344988"/>
                <a:gd name="connsiteX37" fmla="*/ 212877 w 344587"/>
                <a:gd name="connsiteY37" fmla="*/ 278016 h 344988"/>
                <a:gd name="connsiteX38" fmla="*/ 217170 w 344587"/>
                <a:gd name="connsiteY38" fmla="*/ 275693 h 344988"/>
                <a:gd name="connsiteX39" fmla="*/ 212714 w 344587"/>
                <a:gd name="connsiteY39" fmla="*/ 273670 h 344988"/>
                <a:gd name="connsiteX40" fmla="*/ 132663 w 344587"/>
                <a:gd name="connsiteY40" fmla="*/ 268858 h 344988"/>
                <a:gd name="connsiteX41" fmla="*/ 131807 w 344587"/>
                <a:gd name="connsiteY41" fmla="*/ 273670 h 344988"/>
                <a:gd name="connsiteX42" fmla="*/ 127417 w 344587"/>
                <a:gd name="connsiteY42" fmla="*/ 275693 h 344988"/>
                <a:gd name="connsiteX43" fmla="*/ 131646 w 344587"/>
                <a:gd name="connsiteY43" fmla="*/ 278016 h 344988"/>
                <a:gd name="connsiteX44" fmla="*/ 132182 w 344587"/>
                <a:gd name="connsiteY44" fmla="*/ 282882 h 344988"/>
                <a:gd name="connsiteX45" fmla="*/ 135635 w 344587"/>
                <a:gd name="connsiteY45" fmla="*/ 279492 h 344988"/>
                <a:gd name="connsiteX46" fmla="*/ 140345 w 344587"/>
                <a:gd name="connsiteY46" fmla="*/ 280504 h 344988"/>
                <a:gd name="connsiteX47" fmla="*/ 138258 w 344587"/>
                <a:gd name="connsiteY47" fmla="*/ 276075 h 344988"/>
                <a:gd name="connsiteX48" fmla="*/ 140640 w 344587"/>
                <a:gd name="connsiteY48" fmla="*/ 271811 h 344988"/>
                <a:gd name="connsiteX49" fmla="*/ 135875 w 344587"/>
                <a:gd name="connsiteY49" fmla="*/ 272467 h 344988"/>
                <a:gd name="connsiteX50" fmla="*/ 228015 w 344587"/>
                <a:gd name="connsiteY50" fmla="*/ 260644 h 344988"/>
                <a:gd name="connsiteX51" fmla="*/ 225418 w 344587"/>
                <a:gd name="connsiteY51" fmla="*/ 264769 h 344988"/>
                <a:gd name="connsiteX52" fmla="*/ 220576 w 344587"/>
                <a:gd name="connsiteY52" fmla="*/ 264959 h 344988"/>
                <a:gd name="connsiteX53" fmla="*/ 223687 w 344587"/>
                <a:gd name="connsiteY53" fmla="*/ 268704 h 344988"/>
                <a:gd name="connsiteX54" fmla="*/ 222361 w 344587"/>
                <a:gd name="connsiteY54" fmla="*/ 273372 h 344988"/>
                <a:gd name="connsiteX55" fmla="*/ 226879 w 344587"/>
                <a:gd name="connsiteY55" fmla="*/ 271581 h 344988"/>
                <a:gd name="connsiteX56" fmla="*/ 230910 w 344587"/>
                <a:gd name="connsiteY56" fmla="*/ 274268 h 344988"/>
                <a:gd name="connsiteX57" fmla="*/ 230585 w 344587"/>
                <a:gd name="connsiteY57" fmla="*/ 269410 h 344988"/>
                <a:gd name="connsiteX58" fmla="*/ 234399 w 344587"/>
                <a:gd name="connsiteY58" fmla="*/ 266398 h 344988"/>
                <a:gd name="connsiteX59" fmla="*/ 229692 w 344587"/>
                <a:gd name="connsiteY59" fmla="*/ 265204 h 344988"/>
                <a:gd name="connsiteX60" fmla="*/ 116572 w 344587"/>
                <a:gd name="connsiteY60" fmla="*/ 260644 h 344988"/>
                <a:gd name="connsiteX61" fmla="*/ 114895 w 344587"/>
                <a:gd name="connsiteY61" fmla="*/ 265204 h 344988"/>
                <a:gd name="connsiteX62" fmla="*/ 110188 w 344587"/>
                <a:gd name="connsiteY62" fmla="*/ 266398 h 344988"/>
                <a:gd name="connsiteX63" fmla="*/ 114002 w 344587"/>
                <a:gd name="connsiteY63" fmla="*/ 269410 h 344988"/>
                <a:gd name="connsiteX64" fmla="*/ 113678 w 344587"/>
                <a:gd name="connsiteY64" fmla="*/ 274268 h 344988"/>
                <a:gd name="connsiteX65" fmla="*/ 117708 w 344587"/>
                <a:gd name="connsiteY65" fmla="*/ 271581 h 344988"/>
                <a:gd name="connsiteX66" fmla="*/ 122226 w 344587"/>
                <a:gd name="connsiteY66" fmla="*/ 273372 h 344988"/>
                <a:gd name="connsiteX67" fmla="*/ 120900 w 344587"/>
                <a:gd name="connsiteY67" fmla="*/ 268704 h 344988"/>
                <a:gd name="connsiteX68" fmla="*/ 124011 w 344587"/>
                <a:gd name="connsiteY68" fmla="*/ 264959 h 344988"/>
                <a:gd name="connsiteX69" fmla="*/ 119169 w 344587"/>
                <a:gd name="connsiteY69" fmla="*/ 264769 h 344988"/>
                <a:gd name="connsiteX70" fmla="*/ 242363 w 344587"/>
                <a:gd name="connsiteY70" fmla="*/ 249625 h 344988"/>
                <a:gd name="connsiteX71" fmla="*/ 240527 w 344587"/>
                <a:gd name="connsiteY71" fmla="*/ 254100 h 344988"/>
                <a:gd name="connsiteX72" fmla="*/ 235802 w 344587"/>
                <a:gd name="connsiteY72" fmla="*/ 255124 h 344988"/>
                <a:gd name="connsiteX73" fmla="*/ 239501 w 344587"/>
                <a:gd name="connsiteY73" fmla="*/ 258251 h 344988"/>
                <a:gd name="connsiteX74" fmla="*/ 239015 w 344587"/>
                <a:gd name="connsiteY74" fmla="*/ 263048 h 344988"/>
                <a:gd name="connsiteX75" fmla="*/ 243119 w 344587"/>
                <a:gd name="connsiteY75" fmla="*/ 260515 h 344988"/>
                <a:gd name="connsiteX76" fmla="*/ 247546 w 344587"/>
                <a:gd name="connsiteY76" fmla="*/ 262455 h 344988"/>
                <a:gd name="connsiteX77" fmla="*/ 246413 w 344587"/>
                <a:gd name="connsiteY77" fmla="*/ 257766 h 344988"/>
                <a:gd name="connsiteX78" fmla="*/ 249625 w 344587"/>
                <a:gd name="connsiteY78" fmla="*/ 254154 h 344988"/>
                <a:gd name="connsiteX79" fmla="*/ 244792 w 344587"/>
                <a:gd name="connsiteY79" fmla="*/ 253776 h 344988"/>
                <a:gd name="connsiteX80" fmla="*/ 102024 w 344587"/>
                <a:gd name="connsiteY80" fmla="*/ 249625 h 344988"/>
                <a:gd name="connsiteX81" fmla="*/ 99594 w 344587"/>
                <a:gd name="connsiteY81" fmla="*/ 253776 h 344988"/>
                <a:gd name="connsiteX82" fmla="*/ 94762 w 344587"/>
                <a:gd name="connsiteY82" fmla="*/ 254154 h 344988"/>
                <a:gd name="connsiteX83" fmla="*/ 97975 w 344587"/>
                <a:gd name="connsiteY83" fmla="*/ 257766 h 344988"/>
                <a:gd name="connsiteX84" fmla="*/ 96841 w 344587"/>
                <a:gd name="connsiteY84" fmla="*/ 262455 h 344988"/>
                <a:gd name="connsiteX85" fmla="*/ 101268 w 344587"/>
                <a:gd name="connsiteY85" fmla="*/ 260515 h 344988"/>
                <a:gd name="connsiteX86" fmla="*/ 105372 w 344587"/>
                <a:gd name="connsiteY86" fmla="*/ 263048 h 344988"/>
                <a:gd name="connsiteX87" fmla="*/ 104886 w 344587"/>
                <a:gd name="connsiteY87" fmla="*/ 258251 h 344988"/>
                <a:gd name="connsiteX88" fmla="*/ 108585 w 344587"/>
                <a:gd name="connsiteY88" fmla="*/ 255124 h 344988"/>
                <a:gd name="connsiteX89" fmla="*/ 103860 w 344587"/>
                <a:gd name="connsiteY89" fmla="*/ 254100 h 344988"/>
                <a:gd name="connsiteX90" fmla="*/ 254712 w 344587"/>
                <a:gd name="connsiteY90" fmla="*/ 236203 h 344988"/>
                <a:gd name="connsiteX91" fmla="*/ 253690 w 344587"/>
                <a:gd name="connsiteY91" fmla="*/ 240928 h 344988"/>
                <a:gd name="connsiteX92" fmla="*/ 249225 w 344587"/>
                <a:gd name="connsiteY92" fmla="*/ 242764 h 344988"/>
                <a:gd name="connsiteX93" fmla="*/ 253394 w 344587"/>
                <a:gd name="connsiteY93" fmla="*/ 245220 h 344988"/>
                <a:gd name="connsiteX94" fmla="*/ 253771 w 344587"/>
                <a:gd name="connsiteY94" fmla="*/ 250026 h 344988"/>
                <a:gd name="connsiteX95" fmla="*/ 257348 w 344587"/>
                <a:gd name="connsiteY95" fmla="*/ 246813 h 344988"/>
                <a:gd name="connsiteX96" fmla="*/ 262056 w 344587"/>
                <a:gd name="connsiteY96" fmla="*/ 247974 h 344988"/>
                <a:gd name="connsiteX97" fmla="*/ 260119 w 344587"/>
                <a:gd name="connsiteY97" fmla="*/ 243520 h 344988"/>
                <a:gd name="connsiteX98" fmla="*/ 262648 w 344587"/>
                <a:gd name="connsiteY98" fmla="*/ 239416 h 344988"/>
                <a:gd name="connsiteX99" fmla="*/ 257833 w 344587"/>
                <a:gd name="connsiteY99" fmla="*/ 239902 h 344988"/>
                <a:gd name="connsiteX100" fmla="*/ 89793 w 344587"/>
                <a:gd name="connsiteY100" fmla="*/ 236203 h 344988"/>
                <a:gd name="connsiteX101" fmla="*/ 86626 w 344587"/>
                <a:gd name="connsiteY101" fmla="*/ 239902 h 344988"/>
                <a:gd name="connsiteX102" fmla="*/ 81739 w 344587"/>
                <a:gd name="connsiteY102" fmla="*/ 239416 h 344988"/>
                <a:gd name="connsiteX103" fmla="*/ 84333 w 344587"/>
                <a:gd name="connsiteY103" fmla="*/ 243520 h 344988"/>
                <a:gd name="connsiteX104" fmla="*/ 82340 w 344587"/>
                <a:gd name="connsiteY104" fmla="*/ 247974 h 344988"/>
                <a:gd name="connsiteX105" fmla="*/ 87118 w 344587"/>
                <a:gd name="connsiteY105" fmla="*/ 246813 h 344988"/>
                <a:gd name="connsiteX106" fmla="*/ 90749 w 344587"/>
                <a:gd name="connsiteY106" fmla="*/ 250026 h 344988"/>
                <a:gd name="connsiteX107" fmla="*/ 91131 w 344587"/>
                <a:gd name="connsiteY107" fmla="*/ 245220 h 344988"/>
                <a:gd name="connsiteX108" fmla="*/ 95363 w 344587"/>
                <a:gd name="connsiteY108" fmla="*/ 242764 h 344988"/>
                <a:gd name="connsiteX109" fmla="*/ 90831 w 344587"/>
                <a:gd name="connsiteY109" fmla="*/ 240928 h 344988"/>
                <a:gd name="connsiteX110" fmla="*/ 264558 w 344587"/>
                <a:gd name="connsiteY110" fmla="*/ 220977 h 344988"/>
                <a:gd name="connsiteX111" fmla="*/ 264341 w 344587"/>
                <a:gd name="connsiteY111" fmla="*/ 225819 h 344988"/>
                <a:gd name="connsiteX112" fmla="*/ 260243 w 344587"/>
                <a:gd name="connsiteY112" fmla="*/ 228416 h 344988"/>
                <a:gd name="connsiteX113" fmla="*/ 264803 w 344587"/>
                <a:gd name="connsiteY113" fmla="*/ 230093 h 344988"/>
                <a:gd name="connsiteX114" fmla="*/ 265997 w 344587"/>
                <a:gd name="connsiteY114" fmla="*/ 234800 h 344988"/>
                <a:gd name="connsiteX115" fmla="*/ 269009 w 344587"/>
                <a:gd name="connsiteY115" fmla="*/ 230986 h 344988"/>
                <a:gd name="connsiteX116" fmla="*/ 273867 w 344587"/>
                <a:gd name="connsiteY116" fmla="*/ 231311 h 344988"/>
                <a:gd name="connsiteX117" fmla="*/ 271180 w 344587"/>
                <a:gd name="connsiteY117" fmla="*/ 227280 h 344988"/>
                <a:gd name="connsiteX118" fmla="*/ 272971 w 344587"/>
                <a:gd name="connsiteY118" fmla="*/ 222762 h 344988"/>
                <a:gd name="connsiteX119" fmla="*/ 268276 w 344587"/>
                <a:gd name="connsiteY119" fmla="*/ 224088 h 344988"/>
                <a:gd name="connsiteX120" fmla="*/ 80029 w 344587"/>
                <a:gd name="connsiteY120" fmla="*/ 220977 h 344988"/>
                <a:gd name="connsiteX121" fmla="*/ 76311 w 344587"/>
                <a:gd name="connsiteY121" fmla="*/ 224088 h 344988"/>
                <a:gd name="connsiteX122" fmla="*/ 71616 w 344587"/>
                <a:gd name="connsiteY122" fmla="*/ 222762 h 344988"/>
                <a:gd name="connsiteX123" fmla="*/ 73407 w 344587"/>
                <a:gd name="connsiteY123" fmla="*/ 227280 h 344988"/>
                <a:gd name="connsiteX124" fmla="*/ 70721 w 344587"/>
                <a:gd name="connsiteY124" fmla="*/ 231311 h 344988"/>
                <a:gd name="connsiteX125" fmla="*/ 75578 w 344587"/>
                <a:gd name="connsiteY125" fmla="*/ 230986 h 344988"/>
                <a:gd name="connsiteX126" fmla="*/ 78590 w 344587"/>
                <a:gd name="connsiteY126" fmla="*/ 234800 h 344988"/>
                <a:gd name="connsiteX127" fmla="*/ 79785 w 344587"/>
                <a:gd name="connsiteY127" fmla="*/ 230093 h 344988"/>
                <a:gd name="connsiteX128" fmla="*/ 84344 w 344587"/>
                <a:gd name="connsiteY128" fmla="*/ 228416 h 344988"/>
                <a:gd name="connsiteX129" fmla="*/ 80246 w 344587"/>
                <a:gd name="connsiteY129" fmla="*/ 225819 h 344988"/>
                <a:gd name="connsiteX130" fmla="*/ 271410 w 344587"/>
                <a:gd name="connsiteY130" fmla="*/ 204148 h 344988"/>
                <a:gd name="connsiteX131" fmla="*/ 272066 w 344587"/>
                <a:gd name="connsiteY131" fmla="*/ 208985 h 344988"/>
                <a:gd name="connsiteX132" fmla="*/ 268457 w 344587"/>
                <a:gd name="connsiteY132" fmla="*/ 212245 h 344988"/>
                <a:gd name="connsiteX133" fmla="*/ 273269 w 344587"/>
                <a:gd name="connsiteY133" fmla="*/ 213115 h 344988"/>
                <a:gd name="connsiteX134" fmla="*/ 275292 w 344587"/>
                <a:gd name="connsiteY134" fmla="*/ 217571 h 344988"/>
                <a:gd name="connsiteX135" fmla="*/ 277615 w 344587"/>
                <a:gd name="connsiteY135" fmla="*/ 213278 h 344988"/>
                <a:gd name="connsiteX136" fmla="*/ 282481 w 344587"/>
                <a:gd name="connsiteY136" fmla="*/ 212734 h 344988"/>
                <a:gd name="connsiteX137" fmla="*/ 279091 w 344587"/>
                <a:gd name="connsiteY137" fmla="*/ 209229 h 344988"/>
                <a:gd name="connsiteX138" fmla="*/ 280076 w 344587"/>
                <a:gd name="connsiteY138" fmla="*/ 204447 h 344988"/>
                <a:gd name="connsiteX139" fmla="*/ 275674 w 344587"/>
                <a:gd name="connsiteY139" fmla="*/ 206566 h 344988"/>
                <a:gd name="connsiteX140" fmla="*/ 73019 w 344587"/>
                <a:gd name="connsiteY140" fmla="*/ 204148 h 344988"/>
                <a:gd name="connsiteX141" fmla="*/ 68816 w 344587"/>
                <a:gd name="connsiteY141" fmla="*/ 206566 h 344988"/>
                <a:gd name="connsiteX142" fmla="*/ 64477 w 344587"/>
                <a:gd name="connsiteY142" fmla="*/ 204447 h 344988"/>
                <a:gd name="connsiteX143" fmla="*/ 65447 w 344587"/>
                <a:gd name="connsiteY143" fmla="*/ 209229 h 344988"/>
                <a:gd name="connsiteX144" fmla="*/ 62106 w 344587"/>
                <a:gd name="connsiteY144" fmla="*/ 212734 h 344988"/>
                <a:gd name="connsiteX145" fmla="*/ 66903 w 344587"/>
                <a:gd name="connsiteY145" fmla="*/ 213278 h 344988"/>
                <a:gd name="connsiteX146" fmla="*/ 69193 w 344587"/>
                <a:gd name="connsiteY146" fmla="*/ 217571 h 344988"/>
                <a:gd name="connsiteX147" fmla="*/ 71187 w 344587"/>
                <a:gd name="connsiteY147" fmla="*/ 213115 h 344988"/>
                <a:gd name="connsiteX148" fmla="*/ 75929 w 344587"/>
                <a:gd name="connsiteY148" fmla="*/ 212245 h 344988"/>
                <a:gd name="connsiteX149" fmla="*/ 72373 w 344587"/>
                <a:gd name="connsiteY149" fmla="*/ 208985 h 344988"/>
                <a:gd name="connsiteX150" fmla="*/ 283915 w 344587"/>
                <a:gd name="connsiteY150" fmla="*/ 185116 h 344988"/>
                <a:gd name="connsiteX151" fmla="*/ 279950 w 344587"/>
                <a:gd name="connsiteY151" fmla="*/ 187963 h 344988"/>
                <a:gd name="connsiteX152" fmla="*/ 275388 w 344587"/>
                <a:gd name="connsiteY152" fmla="*/ 186320 h 344988"/>
                <a:gd name="connsiteX153" fmla="*/ 276854 w 344587"/>
                <a:gd name="connsiteY153" fmla="*/ 191001 h 344988"/>
                <a:gd name="connsiteX154" fmla="*/ 273867 w 344587"/>
                <a:gd name="connsiteY154" fmla="*/ 194861 h 344988"/>
                <a:gd name="connsiteX155" fmla="*/ 278755 w 344587"/>
                <a:gd name="connsiteY155" fmla="*/ 194888 h 344988"/>
                <a:gd name="connsiteX156" fmla="*/ 281498 w 344587"/>
                <a:gd name="connsiteY156" fmla="*/ 198939 h 344988"/>
                <a:gd name="connsiteX157" fmla="*/ 283019 w 344587"/>
                <a:gd name="connsiteY157" fmla="*/ 194286 h 344988"/>
                <a:gd name="connsiteX158" fmla="*/ 287690 w 344587"/>
                <a:gd name="connsiteY158" fmla="*/ 192917 h 344988"/>
                <a:gd name="connsiteX159" fmla="*/ 283780 w 344587"/>
                <a:gd name="connsiteY159" fmla="*/ 190015 h 344988"/>
                <a:gd name="connsiteX160" fmla="*/ 60472 w 344587"/>
                <a:gd name="connsiteY160" fmla="*/ 185116 h 344988"/>
                <a:gd name="connsiteX161" fmla="*/ 60608 w 344587"/>
                <a:gd name="connsiteY161" fmla="*/ 190015 h 344988"/>
                <a:gd name="connsiteX162" fmla="*/ 56697 w 344587"/>
                <a:gd name="connsiteY162" fmla="*/ 192917 h 344988"/>
                <a:gd name="connsiteX163" fmla="*/ 61368 w 344587"/>
                <a:gd name="connsiteY163" fmla="*/ 194286 h 344988"/>
                <a:gd name="connsiteX164" fmla="*/ 62889 w 344587"/>
                <a:gd name="connsiteY164" fmla="*/ 198939 h 344988"/>
                <a:gd name="connsiteX165" fmla="*/ 65632 w 344587"/>
                <a:gd name="connsiteY165" fmla="*/ 194888 h 344988"/>
                <a:gd name="connsiteX166" fmla="*/ 70520 w 344587"/>
                <a:gd name="connsiteY166" fmla="*/ 194861 h 344988"/>
                <a:gd name="connsiteX167" fmla="*/ 67533 w 344587"/>
                <a:gd name="connsiteY167" fmla="*/ 191001 h 344988"/>
                <a:gd name="connsiteX168" fmla="*/ 68999 w 344587"/>
                <a:gd name="connsiteY168" fmla="*/ 186320 h 344988"/>
                <a:gd name="connsiteX169" fmla="*/ 64437 w 344587"/>
                <a:gd name="connsiteY169" fmla="*/ 187963 h 344988"/>
                <a:gd name="connsiteX170" fmla="*/ 284437 w 344587"/>
                <a:gd name="connsiteY170" fmla="*/ 165482 h 344988"/>
                <a:gd name="connsiteX171" fmla="*/ 281057 w 344587"/>
                <a:gd name="connsiteY171" fmla="*/ 168981 h 344988"/>
                <a:gd name="connsiteX172" fmla="*/ 276271 w 344587"/>
                <a:gd name="connsiteY172" fmla="*/ 168161 h 344988"/>
                <a:gd name="connsiteX173" fmla="*/ 278542 w 344587"/>
                <a:gd name="connsiteY173" fmla="*/ 172508 h 344988"/>
                <a:gd name="connsiteX174" fmla="*/ 276271 w 344587"/>
                <a:gd name="connsiteY174" fmla="*/ 176827 h 344988"/>
                <a:gd name="connsiteX175" fmla="*/ 281057 w 344587"/>
                <a:gd name="connsiteY175" fmla="*/ 176007 h 344988"/>
                <a:gd name="connsiteX176" fmla="*/ 284437 w 344587"/>
                <a:gd name="connsiteY176" fmla="*/ 179506 h 344988"/>
                <a:gd name="connsiteX177" fmla="*/ 285140 w 344587"/>
                <a:gd name="connsiteY177" fmla="*/ 174667 h 344988"/>
                <a:gd name="connsiteX178" fmla="*/ 289493 w 344587"/>
                <a:gd name="connsiteY178" fmla="*/ 172508 h 344988"/>
                <a:gd name="connsiteX179" fmla="*/ 285140 w 344587"/>
                <a:gd name="connsiteY179" fmla="*/ 170321 h 344988"/>
                <a:gd name="connsiteX180" fmla="*/ 60027 w 344587"/>
                <a:gd name="connsiteY180" fmla="*/ 165482 h 344988"/>
                <a:gd name="connsiteX181" fmla="*/ 59313 w 344587"/>
                <a:gd name="connsiteY181" fmla="*/ 170321 h 344988"/>
                <a:gd name="connsiteX182" fmla="*/ 54894 w 344587"/>
                <a:gd name="connsiteY182" fmla="*/ 172508 h 344988"/>
                <a:gd name="connsiteX183" fmla="*/ 59313 w 344587"/>
                <a:gd name="connsiteY183" fmla="*/ 174667 h 344988"/>
                <a:gd name="connsiteX184" fmla="*/ 60027 w 344587"/>
                <a:gd name="connsiteY184" fmla="*/ 179506 h 344988"/>
                <a:gd name="connsiteX185" fmla="*/ 63458 w 344587"/>
                <a:gd name="connsiteY185" fmla="*/ 176007 h 344988"/>
                <a:gd name="connsiteX186" fmla="*/ 68317 w 344587"/>
                <a:gd name="connsiteY186" fmla="*/ 176827 h 344988"/>
                <a:gd name="connsiteX187" fmla="*/ 66011 w 344587"/>
                <a:gd name="connsiteY187" fmla="*/ 172508 h 344988"/>
                <a:gd name="connsiteX188" fmla="*/ 68317 w 344587"/>
                <a:gd name="connsiteY188" fmla="*/ 168161 h 344988"/>
                <a:gd name="connsiteX189" fmla="*/ 63458 w 344587"/>
                <a:gd name="connsiteY189" fmla="*/ 168981 h 344988"/>
                <a:gd name="connsiteX190" fmla="*/ 281498 w 344587"/>
                <a:gd name="connsiteY190" fmla="*/ 146049 h 344988"/>
                <a:gd name="connsiteX191" fmla="*/ 278755 w 344587"/>
                <a:gd name="connsiteY191" fmla="*/ 150092 h 344988"/>
                <a:gd name="connsiteX192" fmla="*/ 273867 w 344587"/>
                <a:gd name="connsiteY192" fmla="*/ 150120 h 344988"/>
                <a:gd name="connsiteX193" fmla="*/ 276854 w 344587"/>
                <a:gd name="connsiteY193" fmla="*/ 153999 h 344988"/>
                <a:gd name="connsiteX194" fmla="*/ 275388 w 344587"/>
                <a:gd name="connsiteY194" fmla="*/ 158670 h 344988"/>
                <a:gd name="connsiteX195" fmla="*/ 279950 w 344587"/>
                <a:gd name="connsiteY195" fmla="*/ 157004 h 344988"/>
                <a:gd name="connsiteX196" fmla="*/ 283915 w 344587"/>
                <a:gd name="connsiteY196" fmla="*/ 159872 h 344988"/>
                <a:gd name="connsiteX197" fmla="*/ 283780 w 344587"/>
                <a:gd name="connsiteY197" fmla="*/ 154955 h 344988"/>
                <a:gd name="connsiteX198" fmla="*/ 287690 w 344587"/>
                <a:gd name="connsiteY198" fmla="*/ 152059 h 344988"/>
                <a:gd name="connsiteX199" fmla="*/ 283019 w 344587"/>
                <a:gd name="connsiteY199" fmla="*/ 150693 h 344988"/>
                <a:gd name="connsiteX200" fmla="*/ 62889 w 344587"/>
                <a:gd name="connsiteY200" fmla="*/ 146049 h 344988"/>
                <a:gd name="connsiteX201" fmla="*/ 61368 w 344587"/>
                <a:gd name="connsiteY201" fmla="*/ 150693 h 344988"/>
                <a:gd name="connsiteX202" fmla="*/ 56697 w 344587"/>
                <a:gd name="connsiteY202" fmla="*/ 152059 h 344988"/>
                <a:gd name="connsiteX203" fmla="*/ 60608 w 344587"/>
                <a:gd name="connsiteY203" fmla="*/ 154955 h 344988"/>
                <a:gd name="connsiteX204" fmla="*/ 60472 w 344587"/>
                <a:gd name="connsiteY204" fmla="*/ 159872 h 344988"/>
                <a:gd name="connsiteX205" fmla="*/ 64437 w 344587"/>
                <a:gd name="connsiteY205" fmla="*/ 157004 h 344988"/>
                <a:gd name="connsiteX206" fmla="*/ 68999 w 344587"/>
                <a:gd name="connsiteY206" fmla="*/ 158670 h 344988"/>
                <a:gd name="connsiteX207" fmla="*/ 67533 w 344587"/>
                <a:gd name="connsiteY207" fmla="*/ 153999 h 344988"/>
                <a:gd name="connsiteX208" fmla="*/ 70520 w 344587"/>
                <a:gd name="connsiteY208" fmla="*/ 150120 h 344988"/>
                <a:gd name="connsiteX209" fmla="*/ 65632 w 344587"/>
                <a:gd name="connsiteY209" fmla="*/ 150092 h 344988"/>
                <a:gd name="connsiteX210" fmla="*/ 275292 w 344587"/>
                <a:gd name="connsiteY210" fmla="*/ 127618 h 344988"/>
                <a:gd name="connsiteX211" fmla="*/ 273269 w 344587"/>
                <a:gd name="connsiteY211" fmla="*/ 132007 h 344988"/>
                <a:gd name="connsiteX212" fmla="*/ 268457 w 344587"/>
                <a:gd name="connsiteY212" fmla="*/ 132864 h 344988"/>
                <a:gd name="connsiteX213" fmla="*/ 272066 w 344587"/>
                <a:gd name="connsiteY213" fmla="*/ 136103 h 344988"/>
                <a:gd name="connsiteX214" fmla="*/ 271410 w 344587"/>
                <a:gd name="connsiteY214" fmla="*/ 140840 h 344988"/>
                <a:gd name="connsiteX215" fmla="*/ 275674 w 344587"/>
                <a:gd name="connsiteY215" fmla="*/ 138458 h 344988"/>
                <a:gd name="connsiteX216" fmla="*/ 280076 w 344587"/>
                <a:gd name="connsiteY216" fmla="*/ 140546 h 344988"/>
                <a:gd name="connsiteX217" fmla="*/ 279091 w 344587"/>
                <a:gd name="connsiteY217" fmla="*/ 135862 h 344988"/>
                <a:gd name="connsiteX218" fmla="*/ 282481 w 344587"/>
                <a:gd name="connsiteY218" fmla="*/ 132382 h 344988"/>
                <a:gd name="connsiteX219" fmla="*/ 277615 w 344587"/>
                <a:gd name="connsiteY219" fmla="*/ 131847 h 344988"/>
                <a:gd name="connsiteX220" fmla="*/ 69193 w 344587"/>
                <a:gd name="connsiteY220" fmla="*/ 127618 h 344988"/>
                <a:gd name="connsiteX221" fmla="*/ 66903 w 344587"/>
                <a:gd name="connsiteY221" fmla="*/ 131847 h 344988"/>
                <a:gd name="connsiteX222" fmla="*/ 62106 w 344587"/>
                <a:gd name="connsiteY222" fmla="*/ 132382 h 344988"/>
                <a:gd name="connsiteX223" fmla="*/ 65447 w 344587"/>
                <a:gd name="connsiteY223" fmla="*/ 135862 h 344988"/>
                <a:gd name="connsiteX224" fmla="*/ 64477 w 344587"/>
                <a:gd name="connsiteY224" fmla="*/ 140546 h 344988"/>
                <a:gd name="connsiteX225" fmla="*/ 68816 w 344587"/>
                <a:gd name="connsiteY225" fmla="*/ 138458 h 344988"/>
                <a:gd name="connsiteX226" fmla="*/ 73019 w 344587"/>
                <a:gd name="connsiteY226" fmla="*/ 140840 h 344988"/>
                <a:gd name="connsiteX227" fmla="*/ 72373 w 344587"/>
                <a:gd name="connsiteY227" fmla="*/ 136103 h 344988"/>
                <a:gd name="connsiteX228" fmla="*/ 75929 w 344587"/>
                <a:gd name="connsiteY228" fmla="*/ 132864 h 344988"/>
                <a:gd name="connsiteX229" fmla="*/ 71187 w 344587"/>
                <a:gd name="connsiteY229" fmla="*/ 132007 h 344988"/>
                <a:gd name="connsiteX230" fmla="*/ 265997 w 344587"/>
                <a:gd name="connsiteY230" fmla="*/ 110188 h 344988"/>
                <a:gd name="connsiteX231" fmla="*/ 264803 w 344587"/>
                <a:gd name="connsiteY231" fmla="*/ 114963 h 344988"/>
                <a:gd name="connsiteX232" fmla="*/ 260243 w 344587"/>
                <a:gd name="connsiteY232" fmla="*/ 116665 h 344988"/>
                <a:gd name="connsiteX233" fmla="*/ 264341 w 344587"/>
                <a:gd name="connsiteY233" fmla="*/ 119299 h 344988"/>
                <a:gd name="connsiteX234" fmla="*/ 264558 w 344587"/>
                <a:gd name="connsiteY234" fmla="*/ 124212 h 344988"/>
                <a:gd name="connsiteX235" fmla="*/ 268276 w 344587"/>
                <a:gd name="connsiteY235" fmla="*/ 121083 h 344988"/>
                <a:gd name="connsiteX236" fmla="*/ 272971 w 344587"/>
                <a:gd name="connsiteY236" fmla="*/ 122401 h 344988"/>
                <a:gd name="connsiteX237" fmla="*/ 271180 w 344587"/>
                <a:gd name="connsiteY237" fmla="*/ 117845 h 344988"/>
                <a:gd name="connsiteX238" fmla="*/ 273867 w 344587"/>
                <a:gd name="connsiteY238" fmla="*/ 113756 h 344988"/>
                <a:gd name="connsiteX239" fmla="*/ 269009 w 344587"/>
                <a:gd name="connsiteY239" fmla="*/ 114057 h 344988"/>
                <a:gd name="connsiteX240" fmla="*/ 78590 w 344587"/>
                <a:gd name="connsiteY240" fmla="*/ 110188 h 344988"/>
                <a:gd name="connsiteX241" fmla="*/ 75578 w 344587"/>
                <a:gd name="connsiteY241" fmla="*/ 114057 h 344988"/>
                <a:gd name="connsiteX242" fmla="*/ 70721 w 344587"/>
                <a:gd name="connsiteY242" fmla="*/ 113756 h 344988"/>
                <a:gd name="connsiteX243" fmla="*/ 73407 w 344587"/>
                <a:gd name="connsiteY243" fmla="*/ 117845 h 344988"/>
                <a:gd name="connsiteX244" fmla="*/ 71616 w 344587"/>
                <a:gd name="connsiteY244" fmla="*/ 122401 h 344988"/>
                <a:gd name="connsiteX245" fmla="*/ 76311 w 344587"/>
                <a:gd name="connsiteY245" fmla="*/ 121083 h 344988"/>
                <a:gd name="connsiteX246" fmla="*/ 80029 w 344587"/>
                <a:gd name="connsiteY246" fmla="*/ 124212 h 344988"/>
                <a:gd name="connsiteX247" fmla="*/ 80246 w 344587"/>
                <a:gd name="connsiteY247" fmla="*/ 119299 h 344988"/>
                <a:gd name="connsiteX248" fmla="*/ 84344 w 344587"/>
                <a:gd name="connsiteY248" fmla="*/ 116665 h 344988"/>
                <a:gd name="connsiteX249" fmla="*/ 79785 w 344587"/>
                <a:gd name="connsiteY249" fmla="*/ 114963 h 344988"/>
                <a:gd name="connsiteX250" fmla="*/ 172293 w 344587"/>
                <a:gd name="connsiteY250" fmla="*/ 107507 h 344988"/>
                <a:gd name="connsiteX251" fmla="*/ 164742 w 344587"/>
                <a:gd name="connsiteY251" fmla="*/ 112163 h 344988"/>
                <a:gd name="connsiteX252" fmla="*/ 148477 w 344587"/>
                <a:gd name="connsiteY252" fmla="*/ 145335 h 344988"/>
                <a:gd name="connsiteX253" fmla="*/ 111881 w 344587"/>
                <a:gd name="connsiteY253" fmla="*/ 150766 h 344988"/>
                <a:gd name="connsiteX254" fmla="*/ 104910 w 344587"/>
                <a:gd name="connsiteY254" fmla="*/ 156392 h 344988"/>
                <a:gd name="connsiteX255" fmla="*/ 107234 w 344587"/>
                <a:gd name="connsiteY255" fmla="*/ 165121 h 344988"/>
                <a:gd name="connsiteX256" fmla="*/ 133567 w 344587"/>
                <a:gd name="connsiteY256" fmla="*/ 190922 h 344988"/>
                <a:gd name="connsiteX257" fmla="*/ 127371 w 344587"/>
                <a:gd name="connsiteY257" fmla="*/ 227392 h 344988"/>
                <a:gd name="connsiteX258" fmla="*/ 130663 w 344587"/>
                <a:gd name="connsiteY258" fmla="*/ 235733 h 344988"/>
                <a:gd name="connsiteX259" fmla="*/ 135697 w 344587"/>
                <a:gd name="connsiteY259" fmla="*/ 237479 h 344988"/>
                <a:gd name="connsiteX260" fmla="*/ 139570 w 344587"/>
                <a:gd name="connsiteY260" fmla="*/ 236509 h 344988"/>
                <a:gd name="connsiteX261" fmla="*/ 172293 w 344587"/>
                <a:gd name="connsiteY261" fmla="*/ 219244 h 344988"/>
                <a:gd name="connsiteX262" fmla="*/ 205016 w 344587"/>
                <a:gd name="connsiteY262" fmla="*/ 236509 h 344988"/>
                <a:gd name="connsiteX263" fmla="*/ 209083 w 344587"/>
                <a:gd name="connsiteY263" fmla="*/ 237479 h 344988"/>
                <a:gd name="connsiteX264" fmla="*/ 213923 w 344587"/>
                <a:gd name="connsiteY264" fmla="*/ 235733 h 344988"/>
                <a:gd name="connsiteX265" fmla="*/ 217409 w 344587"/>
                <a:gd name="connsiteY265" fmla="*/ 227392 h 344988"/>
                <a:gd name="connsiteX266" fmla="*/ 211213 w 344587"/>
                <a:gd name="connsiteY266" fmla="*/ 190922 h 344988"/>
                <a:gd name="connsiteX267" fmla="*/ 237546 w 344587"/>
                <a:gd name="connsiteY267" fmla="*/ 165121 h 344988"/>
                <a:gd name="connsiteX268" fmla="*/ 239676 w 344587"/>
                <a:gd name="connsiteY268" fmla="*/ 156392 h 344988"/>
                <a:gd name="connsiteX269" fmla="*/ 232899 w 344587"/>
                <a:gd name="connsiteY269" fmla="*/ 150766 h 344988"/>
                <a:gd name="connsiteX270" fmla="*/ 196303 w 344587"/>
                <a:gd name="connsiteY270" fmla="*/ 145335 h 344988"/>
                <a:gd name="connsiteX271" fmla="*/ 180038 w 344587"/>
                <a:gd name="connsiteY271" fmla="*/ 112163 h 344988"/>
                <a:gd name="connsiteX272" fmla="*/ 172293 w 344587"/>
                <a:gd name="connsiteY272" fmla="*/ 107507 h 344988"/>
                <a:gd name="connsiteX273" fmla="*/ 253771 w 344587"/>
                <a:gd name="connsiteY273" fmla="*/ 94962 h 344988"/>
                <a:gd name="connsiteX274" fmla="*/ 253394 w 344587"/>
                <a:gd name="connsiteY274" fmla="*/ 99795 h 344988"/>
                <a:gd name="connsiteX275" fmla="*/ 249225 w 344587"/>
                <a:gd name="connsiteY275" fmla="*/ 102225 h 344988"/>
                <a:gd name="connsiteX276" fmla="*/ 253690 w 344587"/>
                <a:gd name="connsiteY276" fmla="*/ 104061 h 344988"/>
                <a:gd name="connsiteX277" fmla="*/ 254712 w 344587"/>
                <a:gd name="connsiteY277" fmla="*/ 108785 h 344988"/>
                <a:gd name="connsiteX278" fmla="*/ 257833 w 344587"/>
                <a:gd name="connsiteY278" fmla="*/ 105114 h 344988"/>
                <a:gd name="connsiteX279" fmla="*/ 262648 w 344587"/>
                <a:gd name="connsiteY279" fmla="*/ 105573 h 344988"/>
                <a:gd name="connsiteX280" fmla="*/ 260119 w 344587"/>
                <a:gd name="connsiteY280" fmla="*/ 101469 h 344988"/>
                <a:gd name="connsiteX281" fmla="*/ 262056 w 344587"/>
                <a:gd name="connsiteY281" fmla="*/ 97041 h 344988"/>
                <a:gd name="connsiteX282" fmla="*/ 257348 w 344587"/>
                <a:gd name="connsiteY282" fmla="*/ 98175 h 344988"/>
                <a:gd name="connsiteX283" fmla="*/ 90749 w 344587"/>
                <a:gd name="connsiteY283" fmla="*/ 94962 h 344988"/>
                <a:gd name="connsiteX284" fmla="*/ 87118 w 344587"/>
                <a:gd name="connsiteY284" fmla="*/ 98175 h 344988"/>
                <a:gd name="connsiteX285" fmla="*/ 82340 w 344587"/>
                <a:gd name="connsiteY285" fmla="*/ 97041 h 344988"/>
                <a:gd name="connsiteX286" fmla="*/ 84333 w 344587"/>
                <a:gd name="connsiteY286" fmla="*/ 101469 h 344988"/>
                <a:gd name="connsiteX287" fmla="*/ 81739 w 344587"/>
                <a:gd name="connsiteY287" fmla="*/ 105573 h 344988"/>
                <a:gd name="connsiteX288" fmla="*/ 86626 w 344587"/>
                <a:gd name="connsiteY288" fmla="*/ 105114 h 344988"/>
                <a:gd name="connsiteX289" fmla="*/ 89793 w 344587"/>
                <a:gd name="connsiteY289" fmla="*/ 108785 h 344988"/>
                <a:gd name="connsiteX290" fmla="*/ 90831 w 344587"/>
                <a:gd name="connsiteY290" fmla="*/ 104061 h 344988"/>
                <a:gd name="connsiteX291" fmla="*/ 95363 w 344587"/>
                <a:gd name="connsiteY291" fmla="*/ 102225 h 344988"/>
                <a:gd name="connsiteX292" fmla="*/ 91131 w 344587"/>
                <a:gd name="connsiteY292" fmla="*/ 99795 h 344988"/>
                <a:gd name="connsiteX293" fmla="*/ 239015 w 344587"/>
                <a:gd name="connsiteY293" fmla="*/ 81940 h 344988"/>
                <a:gd name="connsiteX294" fmla="*/ 239501 w 344587"/>
                <a:gd name="connsiteY294" fmla="*/ 86827 h 344988"/>
                <a:gd name="connsiteX295" fmla="*/ 235802 w 344587"/>
                <a:gd name="connsiteY295" fmla="*/ 89993 h 344988"/>
                <a:gd name="connsiteX296" fmla="*/ 240527 w 344587"/>
                <a:gd name="connsiteY296" fmla="*/ 91031 h 344988"/>
                <a:gd name="connsiteX297" fmla="*/ 242363 w 344587"/>
                <a:gd name="connsiteY297" fmla="*/ 95563 h 344988"/>
                <a:gd name="connsiteX298" fmla="*/ 244792 w 344587"/>
                <a:gd name="connsiteY298" fmla="*/ 91331 h 344988"/>
                <a:gd name="connsiteX299" fmla="*/ 249625 w 344587"/>
                <a:gd name="connsiteY299" fmla="*/ 90976 h 344988"/>
                <a:gd name="connsiteX300" fmla="*/ 246413 w 344587"/>
                <a:gd name="connsiteY300" fmla="*/ 87318 h 344988"/>
                <a:gd name="connsiteX301" fmla="*/ 247546 w 344587"/>
                <a:gd name="connsiteY301" fmla="*/ 82568 h 344988"/>
                <a:gd name="connsiteX302" fmla="*/ 243119 w 344587"/>
                <a:gd name="connsiteY302" fmla="*/ 84533 h 344988"/>
                <a:gd name="connsiteX303" fmla="*/ 105372 w 344587"/>
                <a:gd name="connsiteY303" fmla="*/ 81940 h 344988"/>
                <a:gd name="connsiteX304" fmla="*/ 101268 w 344587"/>
                <a:gd name="connsiteY304" fmla="*/ 84533 h 344988"/>
                <a:gd name="connsiteX305" fmla="*/ 96841 w 344587"/>
                <a:gd name="connsiteY305" fmla="*/ 82568 h 344988"/>
                <a:gd name="connsiteX306" fmla="*/ 97975 w 344587"/>
                <a:gd name="connsiteY306" fmla="*/ 87318 h 344988"/>
                <a:gd name="connsiteX307" fmla="*/ 94762 w 344587"/>
                <a:gd name="connsiteY307" fmla="*/ 90976 h 344988"/>
                <a:gd name="connsiteX308" fmla="*/ 99594 w 344587"/>
                <a:gd name="connsiteY308" fmla="*/ 91331 h 344988"/>
                <a:gd name="connsiteX309" fmla="*/ 102024 w 344587"/>
                <a:gd name="connsiteY309" fmla="*/ 95563 h 344988"/>
                <a:gd name="connsiteX310" fmla="*/ 103860 w 344587"/>
                <a:gd name="connsiteY310" fmla="*/ 91031 h 344988"/>
                <a:gd name="connsiteX311" fmla="*/ 108585 w 344587"/>
                <a:gd name="connsiteY311" fmla="*/ 89993 h 344988"/>
                <a:gd name="connsiteX312" fmla="*/ 104886 w 344587"/>
                <a:gd name="connsiteY312" fmla="*/ 86827 h 344988"/>
                <a:gd name="connsiteX313" fmla="*/ 230910 w 344587"/>
                <a:gd name="connsiteY313" fmla="*/ 70720 h 344988"/>
                <a:gd name="connsiteX314" fmla="*/ 226879 w 344587"/>
                <a:gd name="connsiteY314" fmla="*/ 73474 h 344988"/>
                <a:gd name="connsiteX315" fmla="*/ 222361 w 344587"/>
                <a:gd name="connsiteY315" fmla="*/ 71629 h 344988"/>
                <a:gd name="connsiteX316" fmla="*/ 223687 w 344587"/>
                <a:gd name="connsiteY316" fmla="*/ 76393 h 344988"/>
                <a:gd name="connsiteX317" fmla="*/ 220576 w 344587"/>
                <a:gd name="connsiteY317" fmla="*/ 80193 h 344988"/>
                <a:gd name="connsiteX318" fmla="*/ 225418 w 344587"/>
                <a:gd name="connsiteY318" fmla="*/ 80386 h 344988"/>
                <a:gd name="connsiteX319" fmla="*/ 228015 w 344587"/>
                <a:gd name="connsiteY319" fmla="*/ 84544 h 344988"/>
                <a:gd name="connsiteX320" fmla="*/ 229692 w 344587"/>
                <a:gd name="connsiteY320" fmla="*/ 79918 h 344988"/>
                <a:gd name="connsiteX321" fmla="*/ 234399 w 344587"/>
                <a:gd name="connsiteY321" fmla="*/ 78706 h 344988"/>
                <a:gd name="connsiteX322" fmla="*/ 230585 w 344587"/>
                <a:gd name="connsiteY322" fmla="*/ 75650 h 344988"/>
                <a:gd name="connsiteX323" fmla="*/ 113678 w 344587"/>
                <a:gd name="connsiteY323" fmla="*/ 70720 h 344988"/>
                <a:gd name="connsiteX324" fmla="*/ 114002 w 344587"/>
                <a:gd name="connsiteY324" fmla="*/ 75650 h 344988"/>
                <a:gd name="connsiteX325" fmla="*/ 110188 w 344587"/>
                <a:gd name="connsiteY325" fmla="*/ 78706 h 344988"/>
                <a:gd name="connsiteX326" fmla="*/ 114895 w 344587"/>
                <a:gd name="connsiteY326" fmla="*/ 79918 h 344988"/>
                <a:gd name="connsiteX327" fmla="*/ 116572 w 344587"/>
                <a:gd name="connsiteY327" fmla="*/ 84544 h 344988"/>
                <a:gd name="connsiteX328" fmla="*/ 119169 w 344587"/>
                <a:gd name="connsiteY328" fmla="*/ 80386 h 344988"/>
                <a:gd name="connsiteX329" fmla="*/ 124011 w 344587"/>
                <a:gd name="connsiteY329" fmla="*/ 80193 h 344988"/>
                <a:gd name="connsiteX330" fmla="*/ 120900 w 344587"/>
                <a:gd name="connsiteY330" fmla="*/ 76393 h 344988"/>
                <a:gd name="connsiteX331" fmla="*/ 122226 w 344587"/>
                <a:gd name="connsiteY331" fmla="*/ 71629 h 344988"/>
                <a:gd name="connsiteX332" fmla="*/ 117708 w 344587"/>
                <a:gd name="connsiteY332" fmla="*/ 73474 h 344988"/>
                <a:gd name="connsiteX333" fmla="*/ 212334 w 344587"/>
                <a:gd name="connsiteY333" fmla="*/ 62106 h 344988"/>
                <a:gd name="connsiteX334" fmla="*/ 208828 w 344587"/>
                <a:gd name="connsiteY334" fmla="*/ 65489 h 344988"/>
                <a:gd name="connsiteX335" fmla="*/ 204046 w 344587"/>
                <a:gd name="connsiteY335" fmla="*/ 64507 h 344988"/>
                <a:gd name="connsiteX336" fmla="*/ 206165 w 344587"/>
                <a:gd name="connsiteY336" fmla="*/ 68900 h 344988"/>
                <a:gd name="connsiteX337" fmla="*/ 203747 w 344587"/>
                <a:gd name="connsiteY337" fmla="*/ 73156 h 344988"/>
                <a:gd name="connsiteX338" fmla="*/ 208584 w 344587"/>
                <a:gd name="connsiteY338" fmla="*/ 72501 h 344988"/>
                <a:gd name="connsiteX339" fmla="*/ 211844 w 344587"/>
                <a:gd name="connsiteY339" fmla="*/ 76130 h 344988"/>
                <a:gd name="connsiteX340" fmla="*/ 212714 w 344587"/>
                <a:gd name="connsiteY340" fmla="*/ 71301 h 344988"/>
                <a:gd name="connsiteX341" fmla="*/ 217170 w 344587"/>
                <a:gd name="connsiteY341" fmla="*/ 69282 h 344988"/>
                <a:gd name="connsiteX342" fmla="*/ 212877 w 344587"/>
                <a:gd name="connsiteY342" fmla="*/ 66962 h 344988"/>
                <a:gd name="connsiteX343" fmla="*/ 132182 w 344587"/>
                <a:gd name="connsiteY343" fmla="*/ 62106 h 344988"/>
                <a:gd name="connsiteX344" fmla="*/ 131646 w 344587"/>
                <a:gd name="connsiteY344" fmla="*/ 66962 h 344988"/>
                <a:gd name="connsiteX345" fmla="*/ 127417 w 344587"/>
                <a:gd name="connsiteY345" fmla="*/ 69282 h 344988"/>
                <a:gd name="connsiteX346" fmla="*/ 131807 w 344587"/>
                <a:gd name="connsiteY346" fmla="*/ 71301 h 344988"/>
                <a:gd name="connsiteX347" fmla="*/ 132663 w 344587"/>
                <a:gd name="connsiteY347" fmla="*/ 76130 h 344988"/>
                <a:gd name="connsiteX348" fmla="*/ 135875 w 344587"/>
                <a:gd name="connsiteY348" fmla="*/ 72501 h 344988"/>
                <a:gd name="connsiteX349" fmla="*/ 140640 w 344587"/>
                <a:gd name="connsiteY349" fmla="*/ 73156 h 344988"/>
                <a:gd name="connsiteX350" fmla="*/ 138258 w 344587"/>
                <a:gd name="connsiteY350" fmla="*/ 68900 h 344988"/>
                <a:gd name="connsiteX351" fmla="*/ 140345 w 344587"/>
                <a:gd name="connsiteY351" fmla="*/ 64507 h 344988"/>
                <a:gd name="connsiteX352" fmla="*/ 135635 w 344587"/>
                <a:gd name="connsiteY352" fmla="*/ 65489 h 344988"/>
                <a:gd name="connsiteX353" fmla="*/ 192615 w 344587"/>
                <a:gd name="connsiteY353" fmla="*/ 56897 h 344988"/>
                <a:gd name="connsiteX354" fmla="*/ 189761 w 344587"/>
                <a:gd name="connsiteY354" fmla="*/ 60835 h 344988"/>
                <a:gd name="connsiteX355" fmla="*/ 184915 w 344587"/>
                <a:gd name="connsiteY355" fmla="*/ 60672 h 344988"/>
                <a:gd name="connsiteX356" fmla="*/ 187742 w 344587"/>
                <a:gd name="connsiteY356" fmla="*/ 64637 h 344988"/>
                <a:gd name="connsiteX357" fmla="*/ 186127 w 344587"/>
                <a:gd name="connsiteY357" fmla="*/ 69227 h 344988"/>
                <a:gd name="connsiteX358" fmla="*/ 190704 w 344587"/>
                <a:gd name="connsiteY358" fmla="*/ 67733 h 344988"/>
                <a:gd name="connsiteX359" fmla="*/ 194527 w 344587"/>
                <a:gd name="connsiteY359" fmla="*/ 70720 h 344988"/>
                <a:gd name="connsiteX360" fmla="*/ 194554 w 344587"/>
                <a:gd name="connsiteY360" fmla="*/ 65832 h 344988"/>
                <a:gd name="connsiteX361" fmla="*/ 198538 w 344587"/>
                <a:gd name="connsiteY361" fmla="*/ 63089 h 344988"/>
                <a:gd name="connsiteX362" fmla="*/ 193961 w 344587"/>
                <a:gd name="connsiteY362" fmla="*/ 61568 h 344988"/>
                <a:gd name="connsiteX363" fmla="*/ 151859 w 344587"/>
                <a:gd name="connsiteY363" fmla="*/ 56897 h 344988"/>
                <a:gd name="connsiteX364" fmla="*/ 150493 w 344587"/>
                <a:gd name="connsiteY364" fmla="*/ 61568 h 344988"/>
                <a:gd name="connsiteX365" fmla="*/ 145849 w 344587"/>
                <a:gd name="connsiteY365" fmla="*/ 63089 h 344988"/>
                <a:gd name="connsiteX366" fmla="*/ 149892 w 344587"/>
                <a:gd name="connsiteY366" fmla="*/ 65832 h 344988"/>
                <a:gd name="connsiteX367" fmla="*/ 149919 w 344587"/>
                <a:gd name="connsiteY367" fmla="*/ 70720 h 344988"/>
                <a:gd name="connsiteX368" fmla="*/ 153798 w 344587"/>
                <a:gd name="connsiteY368" fmla="*/ 67733 h 344988"/>
                <a:gd name="connsiteX369" fmla="*/ 158443 w 344587"/>
                <a:gd name="connsiteY369" fmla="*/ 69227 h 344988"/>
                <a:gd name="connsiteX370" fmla="*/ 156804 w 344587"/>
                <a:gd name="connsiteY370" fmla="*/ 64637 h 344988"/>
                <a:gd name="connsiteX371" fmla="*/ 159672 w 344587"/>
                <a:gd name="connsiteY371" fmla="*/ 60672 h 344988"/>
                <a:gd name="connsiteX372" fmla="*/ 154755 w 344587"/>
                <a:gd name="connsiteY372" fmla="*/ 60835 h 344988"/>
                <a:gd name="connsiteX373" fmla="*/ 172307 w 344587"/>
                <a:gd name="connsiteY373" fmla="*/ 55094 h 344988"/>
                <a:gd name="connsiteX374" fmla="*/ 170121 w 344587"/>
                <a:gd name="connsiteY374" fmla="*/ 59447 h 344988"/>
                <a:gd name="connsiteX375" fmla="*/ 165282 w 344587"/>
                <a:gd name="connsiteY375" fmla="*/ 60150 h 344988"/>
                <a:gd name="connsiteX376" fmla="*/ 168781 w 344587"/>
                <a:gd name="connsiteY376" fmla="*/ 63530 h 344988"/>
                <a:gd name="connsiteX377" fmla="*/ 167961 w 344587"/>
                <a:gd name="connsiteY377" fmla="*/ 68316 h 344988"/>
                <a:gd name="connsiteX378" fmla="*/ 172307 w 344587"/>
                <a:gd name="connsiteY378" fmla="*/ 66045 h 344988"/>
                <a:gd name="connsiteX379" fmla="*/ 176627 w 344587"/>
                <a:gd name="connsiteY379" fmla="*/ 68316 h 344988"/>
                <a:gd name="connsiteX380" fmla="*/ 175806 w 344587"/>
                <a:gd name="connsiteY380" fmla="*/ 63530 h 344988"/>
                <a:gd name="connsiteX381" fmla="*/ 179306 w 344587"/>
                <a:gd name="connsiteY381" fmla="*/ 60150 h 344988"/>
                <a:gd name="connsiteX382" fmla="*/ 174467 w 344587"/>
                <a:gd name="connsiteY382" fmla="*/ 59447 h 344988"/>
                <a:gd name="connsiteX383" fmla="*/ 171615 w 344587"/>
                <a:gd name="connsiteY383" fmla="*/ 48293 h 344988"/>
                <a:gd name="connsiteX384" fmla="*/ 293719 w 344587"/>
                <a:gd name="connsiteY384" fmla="*/ 170398 h 344988"/>
                <a:gd name="connsiteX385" fmla="*/ 171615 w 344587"/>
                <a:gd name="connsiteY385" fmla="*/ 292503 h 344988"/>
                <a:gd name="connsiteX386" fmla="*/ 49510 w 344587"/>
                <a:gd name="connsiteY386" fmla="*/ 170398 h 344988"/>
                <a:gd name="connsiteX387" fmla="*/ 171615 w 344587"/>
                <a:gd name="connsiteY387" fmla="*/ 48293 h 344988"/>
                <a:gd name="connsiteX388" fmla="*/ 171615 w 344587"/>
                <a:gd name="connsiteY388" fmla="*/ 34348 h 344988"/>
                <a:gd name="connsiteX389" fmla="*/ 35565 w 344587"/>
                <a:gd name="connsiteY389" fmla="*/ 170398 h 344988"/>
                <a:gd name="connsiteX390" fmla="*/ 171615 w 344587"/>
                <a:gd name="connsiteY390" fmla="*/ 306448 h 344988"/>
                <a:gd name="connsiteX391" fmla="*/ 307665 w 344587"/>
                <a:gd name="connsiteY391" fmla="*/ 170398 h 344988"/>
                <a:gd name="connsiteX392" fmla="*/ 171615 w 344587"/>
                <a:gd name="connsiteY392" fmla="*/ 34348 h 344988"/>
                <a:gd name="connsiteX393" fmla="*/ 172307 w 344587"/>
                <a:gd name="connsiteY393" fmla="*/ 0 h 344988"/>
                <a:gd name="connsiteX394" fmla="*/ 212700 w 344587"/>
                <a:gd name="connsiteY394" fmla="*/ 21468 h 344988"/>
                <a:gd name="connsiteX395" fmla="*/ 258434 w 344587"/>
                <a:gd name="connsiteY395" fmla="*/ 23124 h 344988"/>
                <a:gd name="connsiteX396" fmla="*/ 282724 w 344587"/>
                <a:gd name="connsiteY396" fmla="*/ 61936 h 344988"/>
                <a:gd name="connsiteX397" fmla="*/ 321490 w 344587"/>
                <a:gd name="connsiteY397" fmla="*/ 86254 h 344988"/>
                <a:gd name="connsiteX398" fmla="*/ 323144 w 344587"/>
                <a:gd name="connsiteY398" fmla="*/ 132040 h 344988"/>
                <a:gd name="connsiteX399" fmla="*/ 344587 w 344587"/>
                <a:gd name="connsiteY399" fmla="*/ 172508 h 344988"/>
                <a:gd name="connsiteX400" fmla="*/ 323144 w 344587"/>
                <a:gd name="connsiteY400" fmla="*/ 212975 h 344988"/>
                <a:gd name="connsiteX401" fmla="*/ 321490 w 344587"/>
                <a:gd name="connsiteY401" fmla="*/ 258734 h 344988"/>
                <a:gd name="connsiteX402" fmla="*/ 282724 w 344587"/>
                <a:gd name="connsiteY402" fmla="*/ 283052 h 344988"/>
                <a:gd name="connsiteX403" fmla="*/ 258434 w 344587"/>
                <a:gd name="connsiteY403" fmla="*/ 321891 h 344988"/>
                <a:gd name="connsiteX404" fmla="*/ 212700 w 344587"/>
                <a:gd name="connsiteY404" fmla="*/ 323520 h 344988"/>
                <a:gd name="connsiteX405" fmla="*/ 172307 w 344587"/>
                <a:gd name="connsiteY405" fmla="*/ 344988 h 344988"/>
                <a:gd name="connsiteX406" fmla="*/ 131887 w 344587"/>
                <a:gd name="connsiteY406" fmla="*/ 323520 h 344988"/>
                <a:gd name="connsiteX407" fmla="*/ 86154 w 344587"/>
                <a:gd name="connsiteY407" fmla="*/ 321891 h 344988"/>
                <a:gd name="connsiteX408" fmla="*/ 61864 w 344587"/>
                <a:gd name="connsiteY408" fmla="*/ 283052 h 344988"/>
                <a:gd name="connsiteX409" fmla="*/ 23097 w 344587"/>
                <a:gd name="connsiteY409" fmla="*/ 258734 h 344988"/>
                <a:gd name="connsiteX410" fmla="*/ 21444 w 344587"/>
                <a:gd name="connsiteY410" fmla="*/ 212975 h 344988"/>
                <a:gd name="connsiteX411" fmla="*/ 0 w 344587"/>
                <a:gd name="connsiteY411" fmla="*/ 172508 h 344988"/>
                <a:gd name="connsiteX412" fmla="*/ 21444 w 344587"/>
                <a:gd name="connsiteY412" fmla="*/ 132040 h 344988"/>
                <a:gd name="connsiteX413" fmla="*/ 23097 w 344587"/>
                <a:gd name="connsiteY413" fmla="*/ 86254 h 344988"/>
                <a:gd name="connsiteX414" fmla="*/ 61864 w 344587"/>
                <a:gd name="connsiteY414" fmla="*/ 61936 h 344988"/>
                <a:gd name="connsiteX415" fmla="*/ 86154 w 344587"/>
                <a:gd name="connsiteY415" fmla="*/ 23124 h 344988"/>
                <a:gd name="connsiteX416" fmla="*/ 131887 w 344587"/>
                <a:gd name="connsiteY416" fmla="*/ 21468 h 344988"/>
                <a:gd name="connsiteX417" fmla="*/ 172307 w 344587"/>
                <a:gd name="connsiteY417" fmla="*/ 0 h 3449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</a:cxnLst>
              <a:rect l="l" t="t" r="r" b="b"/>
              <a:pathLst>
                <a:path w="344587" h="344988">
                  <a:moveTo>
                    <a:pt x="167961" y="276672"/>
                  </a:moveTo>
                  <a:lnTo>
                    <a:pt x="168781" y="281441"/>
                  </a:lnTo>
                  <a:lnTo>
                    <a:pt x="165282" y="284827"/>
                  </a:lnTo>
                  <a:lnTo>
                    <a:pt x="170121" y="285532"/>
                  </a:lnTo>
                  <a:lnTo>
                    <a:pt x="172307" y="289894"/>
                  </a:lnTo>
                  <a:lnTo>
                    <a:pt x="174467" y="285532"/>
                  </a:lnTo>
                  <a:lnTo>
                    <a:pt x="179306" y="284827"/>
                  </a:lnTo>
                  <a:lnTo>
                    <a:pt x="175806" y="281441"/>
                  </a:lnTo>
                  <a:lnTo>
                    <a:pt x="176627" y="276672"/>
                  </a:lnTo>
                  <a:lnTo>
                    <a:pt x="172307" y="278921"/>
                  </a:lnTo>
                  <a:close/>
                  <a:moveTo>
                    <a:pt x="194527" y="274468"/>
                  </a:moveTo>
                  <a:lnTo>
                    <a:pt x="190704" y="277391"/>
                  </a:lnTo>
                  <a:lnTo>
                    <a:pt x="186127" y="275943"/>
                  </a:lnTo>
                  <a:lnTo>
                    <a:pt x="187742" y="280475"/>
                  </a:lnTo>
                  <a:lnTo>
                    <a:pt x="184915" y="284363"/>
                  </a:lnTo>
                  <a:lnTo>
                    <a:pt x="189761" y="284229"/>
                  </a:lnTo>
                  <a:lnTo>
                    <a:pt x="192615" y="288091"/>
                  </a:lnTo>
                  <a:lnTo>
                    <a:pt x="193961" y="283479"/>
                  </a:lnTo>
                  <a:lnTo>
                    <a:pt x="198538" y="281977"/>
                  </a:lnTo>
                  <a:lnTo>
                    <a:pt x="194554" y="279268"/>
                  </a:lnTo>
                  <a:close/>
                  <a:moveTo>
                    <a:pt x="149919" y="274468"/>
                  </a:moveTo>
                  <a:lnTo>
                    <a:pt x="149892" y="279268"/>
                  </a:lnTo>
                  <a:lnTo>
                    <a:pt x="145849" y="281977"/>
                  </a:lnTo>
                  <a:lnTo>
                    <a:pt x="150493" y="283479"/>
                  </a:lnTo>
                  <a:lnTo>
                    <a:pt x="151859" y="288091"/>
                  </a:lnTo>
                  <a:lnTo>
                    <a:pt x="154755" y="284229"/>
                  </a:lnTo>
                  <a:lnTo>
                    <a:pt x="159672" y="284363"/>
                  </a:lnTo>
                  <a:lnTo>
                    <a:pt x="156804" y="280475"/>
                  </a:lnTo>
                  <a:lnTo>
                    <a:pt x="158443" y="275943"/>
                  </a:lnTo>
                  <a:lnTo>
                    <a:pt x="153798" y="277391"/>
                  </a:lnTo>
                  <a:close/>
                  <a:moveTo>
                    <a:pt x="211844" y="268858"/>
                  </a:moveTo>
                  <a:lnTo>
                    <a:pt x="208584" y="272467"/>
                  </a:lnTo>
                  <a:lnTo>
                    <a:pt x="203747" y="271811"/>
                  </a:lnTo>
                  <a:lnTo>
                    <a:pt x="206165" y="276075"/>
                  </a:lnTo>
                  <a:lnTo>
                    <a:pt x="204046" y="280504"/>
                  </a:lnTo>
                  <a:lnTo>
                    <a:pt x="208828" y="279492"/>
                  </a:lnTo>
                  <a:lnTo>
                    <a:pt x="212334" y="282882"/>
                  </a:lnTo>
                  <a:lnTo>
                    <a:pt x="212877" y="278016"/>
                  </a:lnTo>
                  <a:lnTo>
                    <a:pt x="217170" y="275693"/>
                  </a:lnTo>
                  <a:lnTo>
                    <a:pt x="212714" y="273670"/>
                  </a:lnTo>
                  <a:close/>
                  <a:moveTo>
                    <a:pt x="132663" y="268858"/>
                  </a:moveTo>
                  <a:lnTo>
                    <a:pt x="131807" y="273670"/>
                  </a:lnTo>
                  <a:lnTo>
                    <a:pt x="127417" y="275693"/>
                  </a:lnTo>
                  <a:lnTo>
                    <a:pt x="131646" y="278016"/>
                  </a:lnTo>
                  <a:lnTo>
                    <a:pt x="132182" y="282882"/>
                  </a:lnTo>
                  <a:lnTo>
                    <a:pt x="135635" y="279492"/>
                  </a:lnTo>
                  <a:lnTo>
                    <a:pt x="140345" y="280504"/>
                  </a:lnTo>
                  <a:lnTo>
                    <a:pt x="138258" y="276075"/>
                  </a:lnTo>
                  <a:lnTo>
                    <a:pt x="140640" y="271811"/>
                  </a:lnTo>
                  <a:lnTo>
                    <a:pt x="135875" y="272467"/>
                  </a:lnTo>
                  <a:close/>
                  <a:moveTo>
                    <a:pt x="228015" y="260644"/>
                  </a:moveTo>
                  <a:lnTo>
                    <a:pt x="225418" y="264769"/>
                  </a:lnTo>
                  <a:lnTo>
                    <a:pt x="220576" y="264959"/>
                  </a:lnTo>
                  <a:lnTo>
                    <a:pt x="223687" y="268704"/>
                  </a:lnTo>
                  <a:lnTo>
                    <a:pt x="222361" y="273372"/>
                  </a:lnTo>
                  <a:lnTo>
                    <a:pt x="226879" y="271581"/>
                  </a:lnTo>
                  <a:lnTo>
                    <a:pt x="230910" y="274268"/>
                  </a:lnTo>
                  <a:lnTo>
                    <a:pt x="230585" y="269410"/>
                  </a:lnTo>
                  <a:lnTo>
                    <a:pt x="234399" y="266398"/>
                  </a:lnTo>
                  <a:lnTo>
                    <a:pt x="229692" y="265204"/>
                  </a:lnTo>
                  <a:close/>
                  <a:moveTo>
                    <a:pt x="116572" y="260644"/>
                  </a:moveTo>
                  <a:lnTo>
                    <a:pt x="114895" y="265204"/>
                  </a:lnTo>
                  <a:lnTo>
                    <a:pt x="110188" y="266398"/>
                  </a:lnTo>
                  <a:lnTo>
                    <a:pt x="114002" y="269410"/>
                  </a:lnTo>
                  <a:lnTo>
                    <a:pt x="113678" y="274268"/>
                  </a:lnTo>
                  <a:lnTo>
                    <a:pt x="117708" y="271581"/>
                  </a:lnTo>
                  <a:lnTo>
                    <a:pt x="122226" y="273372"/>
                  </a:lnTo>
                  <a:lnTo>
                    <a:pt x="120900" y="268704"/>
                  </a:lnTo>
                  <a:lnTo>
                    <a:pt x="124011" y="264959"/>
                  </a:lnTo>
                  <a:lnTo>
                    <a:pt x="119169" y="264769"/>
                  </a:lnTo>
                  <a:close/>
                  <a:moveTo>
                    <a:pt x="242363" y="249625"/>
                  </a:moveTo>
                  <a:lnTo>
                    <a:pt x="240527" y="254100"/>
                  </a:lnTo>
                  <a:lnTo>
                    <a:pt x="235802" y="255124"/>
                  </a:lnTo>
                  <a:lnTo>
                    <a:pt x="239501" y="258251"/>
                  </a:lnTo>
                  <a:lnTo>
                    <a:pt x="239015" y="263048"/>
                  </a:lnTo>
                  <a:lnTo>
                    <a:pt x="243119" y="260515"/>
                  </a:lnTo>
                  <a:lnTo>
                    <a:pt x="247546" y="262455"/>
                  </a:lnTo>
                  <a:lnTo>
                    <a:pt x="246413" y="257766"/>
                  </a:lnTo>
                  <a:lnTo>
                    <a:pt x="249625" y="254154"/>
                  </a:lnTo>
                  <a:lnTo>
                    <a:pt x="244792" y="253776"/>
                  </a:lnTo>
                  <a:close/>
                  <a:moveTo>
                    <a:pt x="102024" y="249625"/>
                  </a:moveTo>
                  <a:lnTo>
                    <a:pt x="99594" y="253776"/>
                  </a:lnTo>
                  <a:lnTo>
                    <a:pt x="94762" y="254154"/>
                  </a:lnTo>
                  <a:lnTo>
                    <a:pt x="97975" y="257766"/>
                  </a:lnTo>
                  <a:lnTo>
                    <a:pt x="96841" y="262455"/>
                  </a:lnTo>
                  <a:lnTo>
                    <a:pt x="101268" y="260515"/>
                  </a:lnTo>
                  <a:lnTo>
                    <a:pt x="105372" y="263048"/>
                  </a:lnTo>
                  <a:lnTo>
                    <a:pt x="104886" y="258251"/>
                  </a:lnTo>
                  <a:lnTo>
                    <a:pt x="108585" y="255124"/>
                  </a:lnTo>
                  <a:lnTo>
                    <a:pt x="103860" y="254100"/>
                  </a:lnTo>
                  <a:close/>
                  <a:moveTo>
                    <a:pt x="254712" y="236203"/>
                  </a:moveTo>
                  <a:lnTo>
                    <a:pt x="253690" y="240928"/>
                  </a:lnTo>
                  <a:lnTo>
                    <a:pt x="249225" y="242764"/>
                  </a:lnTo>
                  <a:lnTo>
                    <a:pt x="253394" y="245220"/>
                  </a:lnTo>
                  <a:lnTo>
                    <a:pt x="253771" y="250026"/>
                  </a:lnTo>
                  <a:lnTo>
                    <a:pt x="257348" y="246813"/>
                  </a:lnTo>
                  <a:lnTo>
                    <a:pt x="262056" y="247974"/>
                  </a:lnTo>
                  <a:lnTo>
                    <a:pt x="260119" y="243520"/>
                  </a:lnTo>
                  <a:lnTo>
                    <a:pt x="262648" y="239416"/>
                  </a:lnTo>
                  <a:lnTo>
                    <a:pt x="257833" y="239902"/>
                  </a:lnTo>
                  <a:close/>
                  <a:moveTo>
                    <a:pt x="89793" y="236203"/>
                  </a:moveTo>
                  <a:lnTo>
                    <a:pt x="86626" y="239902"/>
                  </a:lnTo>
                  <a:lnTo>
                    <a:pt x="81739" y="239416"/>
                  </a:lnTo>
                  <a:lnTo>
                    <a:pt x="84333" y="243520"/>
                  </a:lnTo>
                  <a:lnTo>
                    <a:pt x="82340" y="247974"/>
                  </a:lnTo>
                  <a:lnTo>
                    <a:pt x="87118" y="246813"/>
                  </a:lnTo>
                  <a:lnTo>
                    <a:pt x="90749" y="250026"/>
                  </a:lnTo>
                  <a:lnTo>
                    <a:pt x="91131" y="245220"/>
                  </a:lnTo>
                  <a:lnTo>
                    <a:pt x="95363" y="242764"/>
                  </a:lnTo>
                  <a:lnTo>
                    <a:pt x="90831" y="240928"/>
                  </a:lnTo>
                  <a:close/>
                  <a:moveTo>
                    <a:pt x="264558" y="220977"/>
                  </a:moveTo>
                  <a:lnTo>
                    <a:pt x="264341" y="225819"/>
                  </a:lnTo>
                  <a:lnTo>
                    <a:pt x="260243" y="228416"/>
                  </a:lnTo>
                  <a:lnTo>
                    <a:pt x="264803" y="230093"/>
                  </a:lnTo>
                  <a:lnTo>
                    <a:pt x="265997" y="234800"/>
                  </a:lnTo>
                  <a:lnTo>
                    <a:pt x="269009" y="230986"/>
                  </a:lnTo>
                  <a:lnTo>
                    <a:pt x="273867" y="231311"/>
                  </a:lnTo>
                  <a:lnTo>
                    <a:pt x="271180" y="227280"/>
                  </a:lnTo>
                  <a:lnTo>
                    <a:pt x="272971" y="222762"/>
                  </a:lnTo>
                  <a:lnTo>
                    <a:pt x="268276" y="224088"/>
                  </a:lnTo>
                  <a:close/>
                  <a:moveTo>
                    <a:pt x="80029" y="220977"/>
                  </a:moveTo>
                  <a:lnTo>
                    <a:pt x="76311" y="224088"/>
                  </a:lnTo>
                  <a:lnTo>
                    <a:pt x="71616" y="222762"/>
                  </a:lnTo>
                  <a:lnTo>
                    <a:pt x="73407" y="227280"/>
                  </a:lnTo>
                  <a:lnTo>
                    <a:pt x="70721" y="231311"/>
                  </a:lnTo>
                  <a:lnTo>
                    <a:pt x="75578" y="230986"/>
                  </a:lnTo>
                  <a:lnTo>
                    <a:pt x="78590" y="234800"/>
                  </a:lnTo>
                  <a:lnTo>
                    <a:pt x="79785" y="230093"/>
                  </a:lnTo>
                  <a:lnTo>
                    <a:pt x="84344" y="228416"/>
                  </a:lnTo>
                  <a:lnTo>
                    <a:pt x="80246" y="225819"/>
                  </a:lnTo>
                  <a:close/>
                  <a:moveTo>
                    <a:pt x="271410" y="204148"/>
                  </a:moveTo>
                  <a:lnTo>
                    <a:pt x="272066" y="208985"/>
                  </a:lnTo>
                  <a:lnTo>
                    <a:pt x="268457" y="212245"/>
                  </a:lnTo>
                  <a:lnTo>
                    <a:pt x="273269" y="213115"/>
                  </a:lnTo>
                  <a:lnTo>
                    <a:pt x="275292" y="217571"/>
                  </a:lnTo>
                  <a:lnTo>
                    <a:pt x="277615" y="213278"/>
                  </a:lnTo>
                  <a:lnTo>
                    <a:pt x="282481" y="212734"/>
                  </a:lnTo>
                  <a:lnTo>
                    <a:pt x="279091" y="209229"/>
                  </a:lnTo>
                  <a:lnTo>
                    <a:pt x="280076" y="204447"/>
                  </a:lnTo>
                  <a:lnTo>
                    <a:pt x="275674" y="206566"/>
                  </a:lnTo>
                  <a:close/>
                  <a:moveTo>
                    <a:pt x="73019" y="204148"/>
                  </a:moveTo>
                  <a:lnTo>
                    <a:pt x="68816" y="206566"/>
                  </a:lnTo>
                  <a:lnTo>
                    <a:pt x="64477" y="204447"/>
                  </a:lnTo>
                  <a:lnTo>
                    <a:pt x="65447" y="209229"/>
                  </a:lnTo>
                  <a:lnTo>
                    <a:pt x="62106" y="212734"/>
                  </a:lnTo>
                  <a:lnTo>
                    <a:pt x="66903" y="213278"/>
                  </a:lnTo>
                  <a:lnTo>
                    <a:pt x="69193" y="217571"/>
                  </a:lnTo>
                  <a:lnTo>
                    <a:pt x="71187" y="213115"/>
                  </a:lnTo>
                  <a:lnTo>
                    <a:pt x="75929" y="212245"/>
                  </a:lnTo>
                  <a:lnTo>
                    <a:pt x="72373" y="208985"/>
                  </a:lnTo>
                  <a:close/>
                  <a:moveTo>
                    <a:pt x="283915" y="185116"/>
                  </a:moveTo>
                  <a:lnTo>
                    <a:pt x="279950" y="187963"/>
                  </a:lnTo>
                  <a:lnTo>
                    <a:pt x="275388" y="186320"/>
                  </a:lnTo>
                  <a:lnTo>
                    <a:pt x="276854" y="191001"/>
                  </a:lnTo>
                  <a:lnTo>
                    <a:pt x="273867" y="194861"/>
                  </a:lnTo>
                  <a:lnTo>
                    <a:pt x="278755" y="194888"/>
                  </a:lnTo>
                  <a:lnTo>
                    <a:pt x="281498" y="198939"/>
                  </a:lnTo>
                  <a:lnTo>
                    <a:pt x="283019" y="194286"/>
                  </a:lnTo>
                  <a:lnTo>
                    <a:pt x="287690" y="192917"/>
                  </a:lnTo>
                  <a:lnTo>
                    <a:pt x="283780" y="190015"/>
                  </a:lnTo>
                  <a:close/>
                  <a:moveTo>
                    <a:pt x="60472" y="185116"/>
                  </a:moveTo>
                  <a:lnTo>
                    <a:pt x="60608" y="190015"/>
                  </a:lnTo>
                  <a:lnTo>
                    <a:pt x="56697" y="192917"/>
                  </a:lnTo>
                  <a:lnTo>
                    <a:pt x="61368" y="194286"/>
                  </a:lnTo>
                  <a:lnTo>
                    <a:pt x="62889" y="198939"/>
                  </a:lnTo>
                  <a:lnTo>
                    <a:pt x="65632" y="194888"/>
                  </a:lnTo>
                  <a:lnTo>
                    <a:pt x="70520" y="194861"/>
                  </a:lnTo>
                  <a:lnTo>
                    <a:pt x="67533" y="191001"/>
                  </a:lnTo>
                  <a:lnTo>
                    <a:pt x="68999" y="186320"/>
                  </a:lnTo>
                  <a:lnTo>
                    <a:pt x="64437" y="187963"/>
                  </a:lnTo>
                  <a:close/>
                  <a:moveTo>
                    <a:pt x="284437" y="165482"/>
                  </a:moveTo>
                  <a:lnTo>
                    <a:pt x="281057" y="168981"/>
                  </a:lnTo>
                  <a:lnTo>
                    <a:pt x="276271" y="168161"/>
                  </a:lnTo>
                  <a:lnTo>
                    <a:pt x="278542" y="172508"/>
                  </a:lnTo>
                  <a:lnTo>
                    <a:pt x="276271" y="176827"/>
                  </a:lnTo>
                  <a:lnTo>
                    <a:pt x="281057" y="176007"/>
                  </a:lnTo>
                  <a:lnTo>
                    <a:pt x="284437" y="179506"/>
                  </a:lnTo>
                  <a:lnTo>
                    <a:pt x="285140" y="174667"/>
                  </a:lnTo>
                  <a:lnTo>
                    <a:pt x="289493" y="172508"/>
                  </a:lnTo>
                  <a:lnTo>
                    <a:pt x="285140" y="170321"/>
                  </a:lnTo>
                  <a:close/>
                  <a:moveTo>
                    <a:pt x="60027" y="165482"/>
                  </a:moveTo>
                  <a:lnTo>
                    <a:pt x="59313" y="170321"/>
                  </a:lnTo>
                  <a:lnTo>
                    <a:pt x="54894" y="172508"/>
                  </a:lnTo>
                  <a:lnTo>
                    <a:pt x="59313" y="174667"/>
                  </a:lnTo>
                  <a:lnTo>
                    <a:pt x="60027" y="179506"/>
                  </a:lnTo>
                  <a:lnTo>
                    <a:pt x="63458" y="176007"/>
                  </a:lnTo>
                  <a:lnTo>
                    <a:pt x="68317" y="176827"/>
                  </a:lnTo>
                  <a:lnTo>
                    <a:pt x="66011" y="172508"/>
                  </a:lnTo>
                  <a:lnTo>
                    <a:pt x="68317" y="168161"/>
                  </a:lnTo>
                  <a:lnTo>
                    <a:pt x="63458" y="168981"/>
                  </a:lnTo>
                  <a:close/>
                  <a:moveTo>
                    <a:pt x="281498" y="146049"/>
                  </a:moveTo>
                  <a:lnTo>
                    <a:pt x="278755" y="150092"/>
                  </a:lnTo>
                  <a:lnTo>
                    <a:pt x="273867" y="150120"/>
                  </a:lnTo>
                  <a:lnTo>
                    <a:pt x="276854" y="153999"/>
                  </a:lnTo>
                  <a:lnTo>
                    <a:pt x="275388" y="158670"/>
                  </a:lnTo>
                  <a:lnTo>
                    <a:pt x="279950" y="157004"/>
                  </a:lnTo>
                  <a:lnTo>
                    <a:pt x="283915" y="159872"/>
                  </a:lnTo>
                  <a:lnTo>
                    <a:pt x="283780" y="154955"/>
                  </a:lnTo>
                  <a:lnTo>
                    <a:pt x="287690" y="152059"/>
                  </a:lnTo>
                  <a:lnTo>
                    <a:pt x="283019" y="150693"/>
                  </a:lnTo>
                  <a:close/>
                  <a:moveTo>
                    <a:pt x="62889" y="146049"/>
                  </a:moveTo>
                  <a:lnTo>
                    <a:pt x="61368" y="150693"/>
                  </a:lnTo>
                  <a:lnTo>
                    <a:pt x="56697" y="152059"/>
                  </a:lnTo>
                  <a:lnTo>
                    <a:pt x="60608" y="154955"/>
                  </a:lnTo>
                  <a:lnTo>
                    <a:pt x="60472" y="159872"/>
                  </a:lnTo>
                  <a:lnTo>
                    <a:pt x="64437" y="157004"/>
                  </a:lnTo>
                  <a:lnTo>
                    <a:pt x="68999" y="158670"/>
                  </a:lnTo>
                  <a:lnTo>
                    <a:pt x="67533" y="153999"/>
                  </a:lnTo>
                  <a:lnTo>
                    <a:pt x="70520" y="150120"/>
                  </a:lnTo>
                  <a:lnTo>
                    <a:pt x="65632" y="150092"/>
                  </a:lnTo>
                  <a:close/>
                  <a:moveTo>
                    <a:pt x="275292" y="127618"/>
                  </a:moveTo>
                  <a:lnTo>
                    <a:pt x="273269" y="132007"/>
                  </a:lnTo>
                  <a:lnTo>
                    <a:pt x="268457" y="132864"/>
                  </a:lnTo>
                  <a:lnTo>
                    <a:pt x="272066" y="136103"/>
                  </a:lnTo>
                  <a:lnTo>
                    <a:pt x="271410" y="140840"/>
                  </a:lnTo>
                  <a:lnTo>
                    <a:pt x="275674" y="138458"/>
                  </a:lnTo>
                  <a:lnTo>
                    <a:pt x="280076" y="140546"/>
                  </a:lnTo>
                  <a:lnTo>
                    <a:pt x="279091" y="135862"/>
                  </a:lnTo>
                  <a:lnTo>
                    <a:pt x="282481" y="132382"/>
                  </a:lnTo>
                  <a:lnTo>
                    <a:pt x="277615" y="131847"/>
                  </a:lnTo>
                  <a:close/>
                  <a:moveTo>
                    <a:pt x="69193" y="127618"/>
                  </a:moveTo>
                  <a:lnTo>
                    <a:pt x="66903" y="131847"/>
                  </a:lnTo>
                  <a:lnTo>
                    <a:pt x="62106" y="132382"/>
                  </a:lnTo>
                  <a:lnTo>
                    <a:pt x="65447" y="135862"/>
                  </a:lnTo>
                  <a:lnTo>
                    <a:pt x="64477" y="140546"/>
                  </a:lnTo>
                  <a:lnTo>
                    <a:pt x="68816" y="138458"/>
                  </a:lnTo>
                  <a:lnTo>
                    <a:pt x="73019" y="140840"/>
                  </a:lnTo>
                  <a:lnTo>
                    <a:pt x="72373" y="136103"/>
                  </a:lnTo>
                  <a:lnTo>
                    <a:pt x="75929" y="132864"/>
                  </a:lnTo>
                  <a:lnTo>
                    <a:pt x="71187" y="132007"/>
                  </a:lnTo>
                  <a:close/>
                  <a:moveTo>
                    <a:pt x="265997" y="110188"/>
                  </a:moveTo>
                  <a:lnTo>
                    <a:pt x="264803" y="114963"/>
                  </a:lnTo>
                  <a:lnTo>
                    <a:pt x="260243" y="116665"/>
                  </a:lnTo>
                  <a:lnTo>
                    <a:pt x="264341" y="119299"/>
                  </a:lnTo>
                  <a:lnTo>
                    <a:pt x="264558" y="124212"/>
                  </a:lnTo>
                  <a:lnTo>
                    <a:pt x="268276" y="121083"/>
                  </a:lnTo>
                  <a:lnTo>
                    <a:pt x="272971" y="122401"/>
                  </a:lnTo>
                  <a:lnTo>
                    <a:pt x="271180" y="117845"/>
                  </a:lnTo>
                  <a:lnTo>
                    <a:pt x="273867" y="113756"/>
                  </a:lnTo>
                  <a:lnTo>
                    <a:pt x="269009" y="114057"/>
                  </a:lnTo>
                  <a:close/>
                  <a:moveTo>
                    <a:pt x="78590" y="110188"/>
                  </a:moveTo>
                  <a:lnTo>
                    <a:pt x="75578" y="114057"/>
                  </a:lnTo>
                  <a:lnTo>
                    <a:pt x="70721" y="113756"/>
                  </a:lnTo>
                  <a:lnTo>
                    <a:pt x="73407" y="117845"/>
                  </a:lnTo>
                  <a:lnTo>
                    <a:pt x="71616" y="122401"/>
                  </a:lnTo>
                  <a:lnTo>
                    <a:pt x="76311" y="121083"/>
                  </a:lnTo>
                  <a:lnTo>
                    <a:pt x="80029" y="124212"/>
                  </a:lnTo>
                  <a:lnTo>
                    <a:pt x="80246" y="119299"/>
                  </a:lnTo>
                  <a:lnTo>
                    <a:pt x="84344" y="116665"/>
                  </a:lnTo>
                  <a:lnTo>
                    <a:pt x="79785" y="114963"/>
                  </a:lnTo>
                  <a:close/>
                  <a:moveTo>
                    <a:pt x="172293" y="107507"/>
                  </a:moveTo>
                  <a:cubicBezTo>
                    <a:pt x="169195" y="107507"/>
                    <a:pt x="166097" y="109253"/>
                    <a:pt x="164742" y="112163"/>
                  </a:cubicBezTo>
                  <a:lnTo>
                    <a:pt x="148477" y="145335"/>
                  </a:lnTo>
                  <a:lnTo>
                    <a:pt x="111881" y="150766"/>
                  </a:lnTo>
                  <a:cubicBezTo>
                    <a:pt x="108589" y="151154"/>
                    <a:pt x="106072" y="153482"/>
                    <a:pt x="104910" y="156392"/>
                  </a:cubicBezTo>
                  <a:cubicBezTo>
                    <a:pt x="103942" y="159496"/>
                    <a:pt x="104910" y="162988"/>
                    <a:pt x="107234" y="165121"/>
                  </a:cubicBezTo>
                  <a:lnTo>
                    <a:pt x="133567" y="190922"/>
                  </a:lnTo>
                  <a:lnTo>
                    <a:pt x="127371" y="227392"/>
                  </a:lnTo>
                  <a:cubicBezTo>
                    <a:pt x="126790" y="230689"/>
                    <a:pt x="128146" y="233987"/>
                    <a:pt x="130663" y="235733"/>
                  </a:cubicBezTo>
                  <a:cubicBezTo>
                    <a:pt x="132212" y="236897"/>
                    <a:pt x="133955" y="237479"/>
                    <a:pt x="135697" y="237479"/>
                  </a:cubicBezTo>
                  <a:cubicBezTo>
                    <a:pt x="137053" y="237479"/>
                    <a:pt x="138408" y="237091"/>
                    <a:pt x="139570" y="236509"/>
                  </a:cubicBezTo>
                  <a:lnTo>
                    <a:pt x="172293" y="219244"/>
                  </a:lnTo>
                  <a:lnTo>
                    <a:pt x="205016" y="236509"/>
                  </a:lnTo>
                  <a:cubicBezTo>
                    <a:pt x="206372" y="237091"/>
                    <a:pt x="207727" y="237479"/>
                    <a:pt x="209083" y="237479"/>
                  </a:cubicBezTo>
                  <a:cubicBezTo>
                    <a:pt x="210825" y="237479"/>
                    <a:pt x="212568" y="236897"/>
                    <a:pt x="213923" y="235733"/>
                  </a:cubicBezTo>
                  <a:cubicBezTo>
                    <a:pt x="216634" y="233987"/>
                    <a:pt x="217990" y="230689"/>
                    <a:pt x="217409" y="227392"/>
                  </a:cubicBezTo>
                  <a:lnTo>
                    <a:pt x="211213" y="190922"/>
                  </a:lnTo>
                  <a:lnTo>
                    <a:pt x="237546" y="165121"/>
                  </a:lnTo>
                  <a:cubicBezTo>
                    <a:pt x="239870" y="162988"/>
                    <a:pt x="240644" y="159496"/>
                    <a:pt x="239676" y="156392"/>
                  </a:cubicBezTo>
                  <a:cubicBezTo>
                    <a:pt x="238708" y="153482"/>
                    <a:pt x="235997" y="151154"/>
                    <a:pt x="232899" y="150766"/>
                  </a:cubicBezTo>
                  <a:lnTo>
                    <a:pt x="196303" y="145335"/>
                  </a:lnTo>
                  <a:lnTo>
                    <a:pt x="180038" y="112163"/>
                  </a:lnTo>
                  <a:cubicBezTo>
                    <a:pt x="178489" y="109253"/>
                    <a:pt x="175585" y="107507"/>
                    <a:pt x="172293" y="107507"/>
                  </a:cubicBezTo>
                  <a:close/>
                  <a:moveTo>
                    <a:pt x="253771" y="94962"/>
                  </a:moveTo>
                  <a:lnTo>
                    <a:pt x="253394" y="99795"/>
                  </a:lnTo>
                  <a:lnTo>
                    <a:pt x="249225" y="102225"/>
                  </a:lnTo>
                  <a:lnTo>
                    <a:pt x="253690" y="104061"/>
                  </a:lnTo>
                  <a:lnTo>
                    <a:pt x="254712" y="108785"/>
                  </a:lnTo>
                  <a:lnTo>
                    <a:pt x="257833" y="105114"/>
                  </a:lnTo>
                  <a:lnTo>
                    <a:pt x="262648" y="105573"/>
                  </a:lnTo>
                  <a:lnTo>
                    <a:pt x="260119" y="101469"/>
                  </a:lnTo>
                  <a:lnTo>
                    <a:pt x="262056" y="97041"/>
                  </a:lnTo>
                  <a:lnTo>
                    <a:pt x="257348" y="98175"/>
                  </a:lnTo>
                  <a:close/>
                  <a:moveTo>
                    <a:pt x="90749" y="94962"/>
                  </a:moveTo>
                  <a:lnTo>
                    <a:pt x="87118" y="98175"/>
                  </a:lnTo>
                  <a:lnTo>
                    <a:pt x="82340" y="97041"/>
                  </a:lnTo>
                  <a:lnTo>
                    <a:pt x="84333" y="101469"/>
                  </a:lnTo>
                  <a:lnTo>
                    <a:pt x="81739" y="105573"/>
                  </a:lnTo>
                  <a:lnTo>
                    <a:pt x="86626" y="105114"/>
                  </a:lnTo>
                  <a:lnTo>
                    <a:pt x="89793" y="108785"/>
                  </a:lnTo>
                  <a:lnTo>
                    <a:pt x="90831" y="104061"/>
                  </a:lnTo>
                  <a:lnTo>
                    <a:pt x="95363" y="102225"/>
                  </a:lnTo>
                  <a:lnTo>
                    <a:pt x="91131" y="99795"/>
                  </a:lnTo>
                  <a:close/>
                  <a:moveTo>
                    <a:pt x="239015" y="81940"/>
                  </a:moveTo>
                  <a:lnTo>
                    <a:pt x="239501" y="86827"/>
                  </a:lnTo>
                  <a:lnTo>
                    <a:pt x="235802" y="89993"/>
                  </a:lnTo>
                  <a:lnTo>
                    <a:pt x="240527" y="91031"/>
                  </a:lnTo>
                  <a:lnTo>
                    <a:pt x="242363" y="95563"/>
                  </a:lnTo>
                  <a:lnTo>
                    <a:pt x="244792" y="91331"/>
                  </a:lnTo>
                  <a:lnTo>
                    <a:pt x="249625" y="90976"/>
                  </a:lnTo>
                  <a:lnTo>
                    <a:pt x="246413" y="87318"/>
                  </a:lnTo>
                  <a:lnTo>
                    <a:pt x="247546" y="82568"/>
                  </a:lnTo>
                  <a:lnTo>
                    <a:pt x="243119" y="84533"/>
                  </a:lnTo>
                  <a:close/>
                  <a:moveTo>
                    <a:pt x="105372" y="81940"/>
                  </a:moveTo>
                  <a:lnTo>
                    <a:pt x="101268" y="84533"/>
                  </a:lnTo>
                  <a:lnTo>
                    <a:pt x="96841" y="82568"/>
                  </a:lnTo>
                  <a:lnTo>
                    <a:pt x="97975" y="87318"/>
                  </a:lnTo>
                  <a:lnTo>
                    <a:pt x="94762" y="90976"/>
                  </a:lnTo>
                  <a:lnTo>
                    <a:pt x="99594" y="91331"/>
                  </a:lnTo>
                  <a:lnTo>
                    <a:pt x="102024" y="95563"/>
                  </a:lnTo>
                  <a:lnTo>
                    <a:pt x="103860" y="91031"/>
                  </a:lnTo>
                  <a:lnTo>
                    <a:pt x="108585" y="89993"/>
                  </a:lnTo>
                  <a:lnTo>
                    <a:pt x="104886" y="86827"/>
                  </a:lnTo>
                  <a:close/>
                  <a:moveTo>
                    <a:pt x="230910" y="70720"/>
                  </a:moveTo>
                  <a:lnTo>
                    <a:pt x="226879" y="73474"/>
                  </a:lnTo>
                  <a:lnTo>
                    <a:pt x="222361" y="71629"/>
                  </a:lnTo>
                  <a:lnTo>
                    <a:pt x="223687" y="76393"/>
                  </a:lnTo>
                  <a:lnTo>
                    <a:pt x="220576" y="80193"/>
                  </a:lnTo>
                  <a:lnTo>
                    <a:pt x="225418" y="80386"/>
                  </a:lnTo>
                  <a:lnTo>
                    <a:pt x="228015" y="84544"/>
                  </a:lnTo>
                  <a:lnTo>
                    <a:pt x="229692" y="79918"/>
                  </a:lnTo>
                  <a:lnTo>
                    <a:pt x="234399" y="78706"/>
                  </a:lnTo>
                  <a:lnTo>
                    <a:pt x="230585" y="75650"/>
                  </a:lnTo>
                  <a:close/>
                  <a:moveTo>
                    <a:pt x="113678" y="70720"/>
                  </a:moveTo>
                  <a:lnTo>
                    <a:pt x="114002" y="75650"/>
                  </a:lnTo>
                  <a:lnTo>
                    <a:pt x="110188" y="78706"/>
                  </a:lnTo>
                  <a:lnTo>
                    <a:pt x="114895" y="79918"/>
                  </a:lnTo>
                  <a:lnTo>
                    <a:pt x="116572" y="84544"/>
                  </a:lnTo>
                  <a:lnTo>
                    <a:pt x="119169" y="80386"/>
                  </a:lnTo>
                  <a:lnTo>
                    <a:pt x="124011" y="80193"/>
                  </a:lnTo>
                  <a:lnTo>
                    <a:pt x="120900" y="76393"/>
                  </a:lnTo>
                  <a:lnTo>
                    <a:pt x="122226" y="71629"/>
                  </a:lnTo>
                  <a:lnTo>
                    <a:pt x="117708" y="73474"/>
                  </a:lnTo>
                  <a:close/>
                  <a:moveTo>
                    <a:pt x="212334" y="62106"/>
                  </a:moveTo>
                  <a:lnTo>
                    <a:pt x="208828" y="65489"/>
                  </a:lnTo>
                  <a:lnTo>
                    <a:pt x="204046" y="64507"/>
                  </a:lnTo>
                  <a:lnTo>
                    <a:pt x="206165" y="68900"/>
                  </a:lnTo>
                  <a:lnTo>
                    <a:pt x="203747" y="73156"/>
                  </a:lnTo>
                  <a:lnTo>
                    <a:pt x="208584" y="72501"/>
                  </a:lnTo>
                  <a:lnTo>
                    <a:pt x="211844" y="76130"/>
                  </a:lnTo>
                  <a:lnTo>
                    <a:pt x="212714" y="71301"/>
                  </a:lnTo>
                  <a:lnTo>
                    <a:pt x="217170" y="69282"/>
                  </a:lnTo>
                  <a:lnTo>
                    <a:pt x="212877" y="66962"/>
                  </a:lnTo>
                  <a:close/>
                  <a:moveTo>
                    <a:pt x="132182" y="62106"/>
                  </a:moveTo>
                  <a:lnTo>
                    <a:pt x="131646" y="66962"/>
                  </a:lnTo>
                  <a:lnTo>
                    <a:pt x="127417" y="69282"/>
                  </a:lnTo>
                  <a:lnTo>
                    <a:pt x="131807" y="71301"/>
                  </a:lnTo>
                  <a:lnTo>
                    <a:pt x="132663" y="76130"/>
                  </a:lnTo>
                  <a:lnTo>
                    <a:pt x="135875" y="72501"/>
                  </a:lnTo>
                  <a:lnTo>
                    <a:pt x="140640" y="73156"/>
                  </a:lnTo>
                  <a:lnTo>
                    <a:pt x="138258" y="68900"/>
                  </a:lnTo>
                  <a:lnTo>
                    <a:pt x="140345" y="64507"/>
                  </a:lnTo>
                  <a:lnTo>
                    <a:pt x="135635" y="65489"/>
                  </a:lnTo>
                  <a:close/>
                  <a:moveTo>
                    <a:pt x="192615" y="56897"/>
                  </a:moveTo>
                  <a:lnTo>
                    <a:pt x="189761" y="60835"/>
                  </a:lnTo>
                  <a:lnTo>
                    <a:pt x="184915" y="60672"/>
                  </a:lnTo>
                  <a:lnTo>
                    <a:pt x="187742" y="64637"/>
                  </a:lnTo>
                  <a:lnTo>
                    <a:pt x="186127" y="69227"/>
                  </a:lnTo>
                  <a:lnTo>
                    <a:pt x="190704" y="67733"/>
                  </a:lnTo>
                  <a:lnTo>
                    <a:pt x="194527" y="70720"/>
                  </a:lnTo>
                  <a:lnTo>
                    <a:pt x="194554" y="65832"/>
                  </a:lnTo>
                  <a:lnTo>
                    <a:pt x="198538" y="63089"/>
                  </a:lnTo>
                  <a:lnTo>
                    <a:pt x="193961" y="61568"/>
                  </a:lnTo>
                  <a:close/>
                  <a:moveTo>
                    <a:pt x="151859" y="56897"/>
                  </a:moveTo>
                  <a:lnTo>
                    <a:pt x="150493" y="61568"/>
                  </a:lnTo>
                  <a:lnTo>
                    <a:pt x="145849" y="63089"/>
                  </a:lnTo>
                  <a:lnTo>
                    <a:pt x="149892" y="65832"/>
                  </a:lnTo>
                  <a:lnTo>
                    <a:pt x="149919" y="70720"/>
                  </a:lnTo>
                  <a:lnTo>
                    <a:pt x="153798" y="67733"/>
                  </a:lnTo>
                  <a:lnTo>
                    <a:pt x="158443" y="69227"/>
                  </a:lnTo>
                  <a:lnTo>
                    <a:pt x="156804" y="64637"/>
                  </a:lnTo>
                  <a:lnTo>
                    <a:pt x="159672" y="60672"/>
                  </a:lnTo>
                  <a:lnTo>
                    <a:pt x="154755" y="60835"/>
                  </a:lnTo>
                  <a:close/>
                  <a:moveTo>
                    <a:pt x="172307" y="55094"/>
                  </a:moveTo>
                  <a:lnTo>
                    <a:pt x="170121" y="59447"/>
                  </a:lnTo>
                  <a:lnTo>
                    <a:pt x="165282" y="60150"/>
                  </a:lnTo>
                  <a:lnTo>
                    <a:pt x="168781" y="63530"/>
                  </a:lnTo>
                  <a:lnTo>
                    <a:pt x="167961" y="68316"/>
                  </a:lnTo>
                  <a:lnTo>
                    <a:pt x="172307" y="66045"/>
                  </a:lnTo>
                  <a:lnTo>
                    <a:pt x="176627" y="68316"/>
                  </a:lnTo>
                  <a:lnTo>
                    <a:pt x="175806" y="63530"/>
                  </a:lnTo>
                  <a:lnTo>
                    <a:pt x="179306" y="60150"/>
                  </a:lnTo>
                  <a:lnTo>
                    <a:pt x="174467" y="59447"/>
                  </a:lnTo>
                  <a:close/>
                  <a:moveTo>
                    <a:pt x="171615" y="48293"/>
                  </a:moveTo>
                  <a:cubicBezTo>
                    <a:pt x="239051" y="48293"/>
                    <a:pt x="293719" y="102961"/>
                    <a:pt x="293719" y="170398"/>
                  </a:cubicBezTo>
                  <a:cubicBezTo>
                    <a:pt x="293719" y="237834"/>
                    <a:pt x="239051" y="292503"/>
                    <a:pt x="171615" y="292503"/>
                  </a:cubicBezTo>
                  <a:cubicBezTo>
                    <a:pt x="104179" y="292503"/>
                    <a:pt x="49510" y="237834"/>
                    <a:pt x="49510" y="170398"/>
                  </a:cubicBezTo>
                  <a:cubicBezTo>
                    <a:pt x="49510" y="102961"/>
                    <a:pt x="104179" y="48293"/>
                    <a:pt x="171615" y="48293"/>
                  </a:cubicBezTo>
                  <a:close/>
                  <a:moveTo>
                    <a:pt x="171615" y="34348"/>
                  </a:moveTo>
                  <a:cubicBezTo>
                    <a:pt x="96477" y="34348"/>
                    <a:pt x="35565" y="95260"/>
                    <a:pt x="35565" y="170398"/>
                  </a:cubicBezTo>
                  <a:cubicBezTo>
                    <a:pt x="35565" y="245536"/>
                    <a:pt x="96477" y="306448"/>
                    <a:pt x="171615" y="306448"/>
                  </a:cubicBezTo>
                  <a:cubicBezTo>
                    <a:pt x="246753" y="306448"/>
                    <a:pt x="307665" y="245536"/>
                    <a:pt x="307665" y="170398"/>
                  </a:cubicBezTo>
                  <a:cubicBezTo>
                    <a:pt x="307665" y="95260"/>
                    <a:pt x="246753" y="34348"/>
                    <a:pt x="171615" y="34348"/>
                  </a:cubicBezTo>
                  <a:close/>
                  <a:moveTo>
                    <a:pt x="172307" y="0"/>
                  </a:moveTo>
                  <a:cubicBezTo>
                    <a:pt x="186784" y="0"/>
                    <a:pt x="198956" y="17777"/>
                    <a:pt x="212700" y="21468"/>
                  </a:cubicBezTo>
                  <a:cubicBezTo>
                    <a:pt x="226580" y="25187"/>
                    <a:pt x="246018" y="15932"/>
                    <a:pt x="258434" y="23124"/>
                  </a:cubicBezTo>
                  <a:cubicBezTo>
                    <a:pt x="270768" y="30235"/>
                    <a:pt x="272476" y="51703"/>
                    <a:pt x="282724" y="61936"/>
                  </a:cubicBezTo>
                  <a:cubicBezTo>
                    <a:pt x="292944" y="72195"/>
                    <a:pt x="314387" y="73905"/>
                    <a:pt x="321490" y="86254"/>
                  </a:cubicBezTo>
                  <a:cubicBezTo>
                    <a:pt x="328674" y="98684"/>
                    <a:pt x="319430" y="118144"/>
                    <a:pt x="323144" y="132040"/>
                  </a:cubicBezTo>
                  <a:cubicBezTo>
                    <a:pt x="326831" y="145801"/>
                    <a:pt x="344587" y="158014"/>
                    <a:pt x="344587" y="172508"/>
                  </a:cubicBezTo>
                  <a:cubicBezTo>
                    <a:pt x="344587" y="187001"/>
                    <a:pt x="326831" y="199214"/>
                    <a:pt x="323144" y="212975"/>
                  </a:cubicBezTo>
                  <a:cubicBezTo>
                    <a:pt x="319430" y="226844"/>
                    <a:pt x="328674" y="246304"/>
                    <a:pt x="321490" y="258734"/>
                  </a:cubicBezTo>
                  <a:cubicBezTo>
                    <a:pt x="314387" y="271083"/>
                    <a:pt x="292944" y="272793"/>
                    <a:pt x="282724" y="283052"/>
                  </a:cubicBezTo>
                  <a:cubicBezTo>
                    <a:pt x="272476" y="293312"/>
                    <a:pt x="270768" y="314753"/>
                    <a:pt x="258434" y="321891"/>
                  </a:cubicBezTo>
                  <a:cubicBezTo>
                    <a:pt x="246018" y="329056"/>
                    <a:pt x="226580" y="319801"/>
                    <a:pt x="212700" y="323520"/>
                  </a:cubicBezTo>
                  <a:cubicBezTo>
                    <a:pt x="198956" y="327211"/>
                    <a:pt x="186784" y="344988"/>
                    <a:pt x="172307" y="344988"/>
                  </a:cubicBezTo>
                  <a:cubicBezTo>
                    <a:pt x="157804" y="344988"/>
                    <a:pt x="145632" y="327211"/>
                    <a:pt x="131887" y="323520"/>
                  </a:cubicBezTo>
                  <a:cubicBezTo>
                    <a:pt x="118007" y="319801"/>
                    <a:pt x="98570" y="329056"/>
                    <a:pt x="86154" y="321891"/>
                  </a:cubicBezTo>
                  <a:cubicBezTo>
                    <a:pt x="73819" y="314753"/>
                    <a:pt x="72111" y="293312"/>
                    <a:pt x="61864" y="283052"/>
                  </a:cubicBezTo>
                  <a:cubicBezTo>
                    <a:pt x="51644" y="272793"/>
                    <a:pt x="30200" y="271083"/>
                    <a:pt x="23097" y="258734"/>
                  </a:cubicBezTo>
                  <a:cubicBezTo>
                    <a:pt x="15913" y="246304"/>
                    <a:pt x="25158" y="226844"/>
                    <a:pt x="21444" y="212975"/>
                  </a:cubicBezTo>
                  <a:cubicBezTo>
                    <a:pt x="17757" y="199214"/>
                    <a:pt x="0" y="187001"/>
                    <a:pt x="0" y="172508"/>
                  </a:cubicBezTo>
                  <a:cubicBezTo>
                    <a:pt x="0" y="158014"/>
                    <a:pt x="17757" y="145801"/>
                    <a:pt x="21444" y="132040"/>
                  </a:cubicBezTo>
                  <a:cubicBezTo>
                    <a:pt x="25158" y="118144"/>
                    <a:pt x="15913" y="98684"/>
                    <a:pt x="23097" y="86254"/>
                  </a:cubicBezTo>
                  <a:cubicBezTo>
                    <a:pt x="30200" y="73905"/>
                    <a:pt x="51644" y="72195"/>
                    <a:pt x="61864" y="61936"/>
                  </a:cubicBezTo>
                  <a:cubicBezTo>
                    <a:pt x="72111" y="51703"/>
                    <a:pt x="73819" y="30235"/>
                    <a:pt x="86154" y="23124"/>
                  </a:cubicBezTo>
                  <a:cubicBezTo>
                    <a:pt x="98570" y="15932"/>
                    <a:pt x="118007" y="25187"/>
                    <a:pt x="131887" y="21468"/>
                  </a:cubicBezTo>
                  <a:cubicBezTo>
                    <a:pt x="145632" y="17777"/>
                    <a:pt x="157804" y="0"/>
                    <a:pt x="172307" y="0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" name="Freeform 352">
              <a:extLst>
                <a:ext uri="{FF2B5EF4-FFF2-40B4-BE49-F238E27FC236}">
                  <a16:creationId xmlns:a16="http://schemas.microsoft.com/office/drawing/2014/main" id="{02E74E3F-674C-468C-B05E-B8BF34A8AB86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6243" y="443760"/>
              <a:ext cx="145448" cy="207954"/>
            </a:xfrm>
            <a:custGeom>
              <a:avLst/>
              <a:gdLst>
                <a:gd name="T0" fmla="*/ 3234 w 5365"/>
                <a:gd name="T1" fmla="*/ 384 h 7662"/>
                <a:gd name="T2" fmla="*/ 1547 w 5365"/>
                <a:gd name="T3" fmla="*/ 444 h 7662"/>
                <a:gd name="T4" fmla="*/ 57 w 5365"/>
                <a:gd name="T5" fmla="*/ 1235 h 7662"/>
                <a:gd name="T6" fmla="*/ 0 w 5365"/>
                <a:gd name="T7" fmla="*/ 1233 h 7662"/>
                <a:gd name="T8" fmla="*/ 1722 w 5365"/>
                <a:gd name="T9" fmla="*/ 7662 h 7662"/>
                <a:gd name="T10" fmla="*/ 3185 w 5365"/>
                <a:gd name="T11" fmla="*/ 5834 h 7662"/>
                <a:gd name="T12" fmla="*/ 5365 w 5365"/>
                <a:gd name="T13" fmla="*/ 6686 h 7662"/>
                <a:gd name="T14" fmla="*/ 3574 w 5365"/>
                <a:gd name="T15" fmla="*/ 0 h 7662"/>
                <a:gd name="T16" fmla="*/ 3234 w 5365"/>
                <a:gd name="T17" fmla="*/ 384 h 76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365" h="7662">
                  <a:moveTo>
                    <a:pt x="3234" y="384"/>
                  </a:moveTo>
                  <a:cubicBezTo>
                    <a:pt x="2776" y="649"/>
                    <a:pt x="2059" y="307"/>
                    <a:pt x="1547" y="444"/>
                  </a:cubicBezTo>
                  <a:cubicBezTo>
                    <a:pt x="1040" y="580"/>
                    <a:pt x="591" y="1235"/>
                    <a:pt x="57" y="1235"/>
                  </a:cubicBezTo>
                  <a:cubicBezTo>
                    <a:pt x="37" y="1235"/>
                    <a:pt x="18" y="1235"/>
                    <a:pt x="0" y="1233"/>
                  </a:cubicBezTo>
                  <a:lnTo>
                    <a:pt x="1722" y="7662"/>
                  </a:lnTo>
                  <a:lnTo>
                    <a:pt x="3185" y="5834"/>
                  </a:lnTo>
                  <a:lnTo>
                    <a:pt x="5365" y="6686"/>
                  </a:lnTo>
                  <a:lnTo>
                    <a:pt x="3574" y="0"/>
                  </a:lnTo>
                  <a:cubicBezTo>
                    <a:pt x="3485" y="162"/>
                    <a:pt x="3380" y="300"/>
                    <a:pt x="3234" y="384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" name="Freeform 353">
              <a:extLst>
                <a:ext uri="{FF2B5EF4-FFF2-40B4-BE49-F238E27FC236}">
                  <a16:creationId xmlns:a16="http://schemas.microsoft.com/office/drawing/2014/main" id="{DAD1C763-E31E-4212-98CA-65F48FEFF261}"/>
                </a:ext>
              </a:extLst>
            </p:cNvPr>
            <p:cNvSpPr>
              <a:spLocks/>
            </p:cNvSpPr>
            <p:nvPr/>
          </p:nvSpPr>
          <p:spPr bwMode="auto">
            <a:xfrm>
              <a:off x="2608373" y="443760"/>
              <a:ext cx="145448" cy="207954"/>
            </a:xfrm>
            <a:custGeom>
              <a:avLst/>
              <a:gdLst>
                <a:gd name="T0" fmla="*/ 2131 w 5366"/>
                <a:gd name="T1" fmla="*/ 384 h 7662"/>
                <a:gd name="T2" fmla="*/ 3818 w 5366"/>
                <a:gd name="T3" fmla="*/ 444 h 7662"/>
                <a:gd name="T4" fmla="*/ 5308 w 5366"/>
                <a:gd name="T5" fmla="*/ 1235 h 7662"/>
                <a:gd name="T6" fmla="*/ 5366 w 5366"/>
                <a:gd name="T7" fmla="*/ 1233 h 7662"/>
                <a:gd name="T8" fmla="*/ 3643 w 5366"/>
                <a:gd name="T9" fmla="*/ 7662 h 7662"/>
                <a:gd name="T10" fmla="*/ 2180 w 5366"/>
                <a:gd name="T11" fmla="*/ 5834 h 7662"/>
                <a:gd name="T12" fmla="*/ 0 w 5366"/>
                <a:gd name="T13" fmla="*/ 6686 h 7662"/>
                <a:gd name="T14" fmla="*/ 1791 w 5366"/>
                <a:gd name="T15" fmla="*/ 0 h 7662"/>
                <a:gd name="T16" fmla="*/ 2131 w 5366"/>
                <a:gd name="T17" fmla="*/ 384 h 76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366" h="7662">
                  <a:moveTo>
                    <a:pt x="2131" y="384"/>
                  </a:moveTo>
                  <a:cubicBezTo>
                    <a:pt x="2589" y="649"/>
                    <a:pt x="3306" y="307"/>
                    <a:pt x="3818" y="444"/>
                  </a:cubicBezTo>
                  <a:cubicBezTo>
                    <a:pt x="4325" y="580"/>
                    <a:pt x="4774" y="1235"/>
                    <a:pt x="5308" y="1235"/>
                  </a:cubicBezTo>
                  <a:cubicBezTo>
                    <a:pt x="5328" y="1235"/>
                    <a:pt x="5347" y="1235"/>
                    <a:pt x="5366" y="1233"/>
                  </a:cubicBezTo>
                  <a:lnTo>
                    <a:pt x="3643" y="7662"/>
                  </a:lnTo>
                  <a:lnTo>
                    <a:pt x="2180" y="5834"/>
                  </a:lnTo>
                  <a:lnTo>
                    <a:pt x="0" y="6686"/>
                  </a:lnTo>
                  <a:lnTo>
                    <a:pt x="1791" y="0"/>
                  </a:lnTo>
                  <a:cubicBezTo>
                    <a:pt x="1880" y="162"/>
                    <a:pt x="1985" y="300"/>
                    <a:pt x="2131" y="384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043781952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tint val="95000"/>
            <a:satMod val="17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77" name="Rectangle 76">
            <a:extLst>
              <a:ext uri="{FF2B5EF4-FFF2-40B4-BE49-F238E27FC236}">
                <a16:creationId xmlns:a16="http://schemas.microsoft.com/office/drawing/2014/main" id="{8537B233-9CDD-4A90-AABB-A8963DEE4FB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1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w Cen MT" panose="020B0602020104020603"/>
              <a:ea typeface="+mn-ea"/>
              <a:cs typeface="+mn-cs"/>
            </a:endParaRPr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02517F6E-26E9-44E8-815E-774552D95FD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153400" y="818457"/>
            <a:ext cx="3322317" cy="2975876"/>
          </a:xfrm>
          <a:prstGeom prst="ellipse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br>
              <a:rPr lang="en-US" sz="3100" kern="1200" dirty="0">
                <a:solidFill>
                  <a:schemeClr val="tx1"/>
                </a:solidFill>
                <a:latin typeface="+mj-lt"/>
                <a:ea typeface="+mj-ea"/>
                <a:cs typeface="+mj-cs"/>
              </a:rPr>
            </a:br>
            <a:endParaRPr lang="en-US" sz="3100" kern="1200" dirty="0">
              <a:solidFill>
                <a:schemeClr val="tx1"/>
              </a:solidFill>
              <a:latin typeface="+mj-lt"/>
              <a:ea typeface="+mj-ea"/>
              <a:cs typeface="+mj-cs"/>
            </a:endParaRPr>
          </a:p>
        </p:txBody>
      </p:sp>
      <p:pic>
        <p:nvPicPr>
          <p:cNvPr id="36" name="Picture 35">
            <a:extLst>
              <a:ext uri="{FF2B5EF4-FFF2-40B4-BE49-F238E27FC236}">
                <a16:creationId xmlns:a16="http://schemas.microsoft.com/office/drawing/2014/main" id="{FC9EF324-339C-4E46-9508-BF0C86AAC793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5"/>
              </a:ext>
            </a:extLst>
          </a:blip>
          <a:srcRect t="21540" b="21540"/>
          <a:stretch/>
        </p:blipFill>
        <p:spPr>
          <a:xfrm>
            <a:off x="716280" y="2215808"/>
            <a:ext cx="5401937" cy="2036367"/>
          </a:xfrm>
          <a:prstGeom prst="rect">
            <a:avLst/>
          </a:prstGeom>
        </p:spPr>
      </p:pic>
      <p:cxnSp>
        <p:nvCxnSpPr>
          <p:cNvPr id="79" name="Straight Connector 78">
            <a:extLst>
              <a:ext uri="{FF2B5EF4-FFF2-40B4-BE49-F238E27FC236}">
                <a16:creationId xmlns:a16="http://schemas.microsoft.com/office/drawing/2014/main" id="{040575EE-C594-4566-BC00-663004E52AB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>
            <a:off x="7617861" y="1417320"/>
            <a:ext cx="0" cy="4023360"/>
          </a:xfrm>
          <a:prstGeom prst="line">
            <a:avLst/>
          </a:prstGeom>
          <a:ln w="158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ZoneTexte 3">
            <a:extLst>
              <a:ext uri="{FF2B5EF4-FFF2-40B4-BE49-F238E27FC236}">
                <a16:creationId xmlns:a16="http://schemas.microsoft.com/office/drawing/2014/main" id="{AE196125-F657-4A8D-BF6F-9D35E2A19BAA}"/>
              </a:ext>
            </a:extLst>
          </p:cNvPr>
          <p:cNvSpPr txBox="1"/>
          <p:nvPr/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fr-FR" dirty="0"/>
          </a:p>
        </p:txBody>
      </p:sp>
      <p:sp>
        <p:nvSpPr>
          <p:cNvPr id="23" name="ZoneTexte 2">
            <a:extLst>
              <a:ext uri="{FF2B5EF4-FFF2-40B4-BE49-F238E27FC236}">
                <a16:creationId xmlns:a16="http://schemas.microsoft.com/office/drawing/2014/main" id="{61BA051E-0D20-4CC3-9958-C0CFDE297C40}"/>
              </a:ext>
            </a:extLst>
          </p:cNvPr>
          <p:cNvSpPr txBox="1"/>
          <p:nvPr/>
        </p:nvSpPr>
        <p:spPr>
          <a:xfrm>
            <a:off x="1179226" y="3092970"/>
            <a:ext cx="9833548" cy="269397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fr-FR" sz="2000" dirty="0">
              <a:solidFill>
                <a:srgbClr val="000000"/>
              </a:solidFill>
            </a:endParaRPr>
          </a:p>
          <a:p>
            <a:pPr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fr-FR" sz="2000" dirty="0">
              <a:solidFill>
                <a:srgbClr val="000000"/>
              </a:solidFill>
            </a:endParaRPr>
          </a:p>
          <a:p>
            <a:pPr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fr-FR" sz="2000" dirty="0">
              <a:solidFill>
                <a:srgbClr val="000000"/>
              </a:solidFill>
            </a:endParaRPr>
          </a:p>
        </p:txBody>
      </p:sp>
      <p:grpSp>
        <p:nvGrpSpPr>
          <p:cNvPr id="7" name="Award2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471C68EA-2299-4048-9768-29BE3CCCA72D}"/>
              </a:ext>
            </a:extLst>
          </p:cNvPr>
          <p:cNvGrpSpPr>
            <a:grpSpLocks noChangeAspect="1"/>
          </p:cNvGrpSpPr>
          <p:nvPr>
            <p:custDataLst>
              <p:tags r:id="rId1"/>
            </p:custDataLst>
          </p:nvPr>
        </p:nvGrpSpPr>
        <p:grpSpPr>
          <a:xfrm>
            <a:off x="0" y="0"/>
            <a:ext cx="344587" cy="542925"/>
            <a:chOff x="2585735" y="108789"/>
            <a:chExt cx="344587" cy="542925"/>
          </a:xfrm>
        </p:grpSpPr>
        <p:sp>
          <p:nvSpPr>
            <p:cNvPr id="8" name="Freeform: Shape 206">
              <a:extLst>
                <a:ext uri="{FF2B5EF4-FFF2-40B4-BE49-F238E27FC236}">
                  <a16:creationId xmlns:a16="http://schemas.microsoft.com/office/drawing/2014/main" id="{F1582718-4360-43D7-8A82-7C736EEF1575}"/>
                </a:ext>
              </a:extLst>
            </p:cNvPr>
            <p:cNvSpPr>
              <a:spLocks/>
            </p:cNvSpPr>
            <p:nvPr/>
          </p:nvSpPr>
          <p:spPr bwMode="auto">
            <a:xfrm>
              <a:off x="2585735" y="108789"/>
              <a:ext cx="344587" cy="344988"/>
            </a:xfrm>
            <a:custGeom>
              <a:avLst/>
              <a:gdLst>
                <a:gd name="connsiteX0" fmla="*/ 167961 w 344587"/>
                <a:gd name="connsiteY0" fmla="*/ 276672 h 344988"/>
                <a:gd name="connsiteX1" fmla="*/ 168781 w 344587"/>
                <a:gd name="connsiteY1" fmla="*/ 281441 h 344988"/>
                <a:gd name="connsiteX2" fmla="*/ 165282 w 344587"/>
                <a:gd name="connsiteY2" fmla="*/ 284827 h 344988"/>
                <a:gd name="connsiteX3" fmla="*/ 170121 w 344587"/>
                <a:gd name="connsiteY3" fmla="*/ 285532 h 344988"/>
                <a:gd name="connsiteX4" fmla="*/ 172307 w 344587"/>
                <a:gd name="connsiteY4" fmla="*/ 289894 h 344988"/>
                <a:gd name="connsiteX5" fmla="*/ 174467 w 344587"/>
                <a:gd name="connsiteY5" fmla="*/ 285532 h 344988"/>
                <a:gd name="connsiteX6" fmla="*/ 179306 w 344587"/>
                <a:gd name="connsiteY6" fmla="*/ 284827 h 344988"/>
                <a:gd name="connsiteX7" fmla="*/ 175806 w 344587"/>
                <a:gd name="connsiteY7" fmla="*/ 281441 h 344988"/>
                <a:gd name="connsiteX8" fmla="*/ 176627 w 344587"/>
                <a:gd name="connsiteY8" fmla="*/ 276672 h 344988"/>
                <a:gd name="connsiteX9" fmla="*/ 172307 w 344587"/>
                <a:gd name="connsiteY9" fmla="*/ 278921 h 344988"/>
                <a:gd name="connsiteX10" fmla="*/ 194527 w 344587"/>
                <a:gd name="connsiteY10" fmla="*/ 274468 h 344988"/>
                <a:gd name="connsiteX11" fmla="*/ 190704 w 344587"/>
                <a:gd name="connsiteY11" fmla="*/ 277391 h 344988"/>
                <a:gd name="connsiteX12" fmla="*/ 186127 w 344587"/>
                <a:gd name="connsiteY12" fmla="*/ 275943 h 344988"/>
                <a:gd name="connsiteX13" fmla="*/ 187742 w 344587"/>
                <a:gd name="connsiteY13" fmla="*/ 280475 h 344988"/>
                <a:gd name="connsiteX14" fmla="*/ 184915 w 344587"/>
                <a:gd name="connsiteY14" fmla="*/ 284363 h 344988"/>
                <a:gd name="connsiteX15" fmla="*/ 189761 w 344587"/>
                <a:gd name="connsiteY15" fmla="*/ 284229 h 344988"/>
                <a:gd name="connsiteX16" fmla="*/ 192615 w 344587"/>
                <a:gd name="connsiteY16" fmla="*/ 288091 h 344988"/>
                <a:gd name="connsiteX17" fmla="*/ 193961 w 344587"/>
                <a:gd name="connsiteY17" fmla="*/ 283479 h 344988"/>
                <a:gd name="connsiteX18" fmla="*/ 198538 w 344587"/>
                <a:gd name="connsiteY18" fmla="*/ 281977 h 344988"/>
                <a:gd name="connsiteX19" fmla="*/ 194554 w 344587"/>
                <a:gd name="connsiteY19" fmla="*/ 279268 h 344988"/>
                <a:gd name="connsiteX20" fmla="*/ 149919 w 344587"/>
                <a:gd name="connsiteY20" fmla="*/ 274468 h 344988"/>
                <a:gd name="connsiteX21" fmla="*/ 149892 w 344587"/>
                <a:gd name="connsiteY21" fmla="*/ 279268 h 344988"/>
                <a:gd name="connsiteX22" fmla="*/ 145849 w 344587"/>
                <a:gd name="connsiteY22" fmla="*/ 281977 h 344988"/>
                <a:gd name="connsiteX23" fmla="*/ 150493 w 344587"/>
                <a:gd name="connsiteY23" fmla="*/ 283479 h 344988"/>
                <a:gd name="connsiteX24" fmla="*/ 151859 w 344587"/>
                <a:gd name="connsiteY24" fmla="*/ 288091 h 344988"/>
                <a:gd name="connsiteX25" fmla="*/ 154755 w 344587"/>
                <a:gd name="connsiteY25" fmla="*/ 284229 h 344988"/>
                <a:gd name="connsiteX26" fmla="*/ 159672 w 344587"/>
                <a:gd name="connsiteY26" fmla="*/ 284363 h 344988"/>
                <a:gd name="connsiteX27" fmla="*/ 156804 w 344587"/>
                <a:gd name="connsiteY27" fmla="*/ 280475 h 344988"/>
                <a:gd name="connsiteX28" fmla="*/ 158443 w 344587"/>
                <a:gd name="connsiteY28" fmla="*/ 275943 h 344988"/>
                <a:gd name="connsiteX29" fmla="*/ 153798 w 344587"/>
                <a:gd name="connsiteY29" fmla="*/ 277391 h 344988"/>
                <a:gd name="connsiteX30" fmla="*/ 211844 w 344587"/>
                <a:gd name="connsiteY30" fmla="*/ 268858 h 344988"/>
                <a:gd name="connsiteX31" fmla="*/ 208584 w 344587"/>
                <a:gd name="connsiteY31" fmla="*/ 272467 h 344988"/>
                <a:gd name="connsiteX32" fmla="*/ 203747 w 344587"/>
                <a:gd name="connsiteY32" fmla="*/ 271811 h 344988"/>
                <a:gd name="connsiteX33" fmla="*/ 206165 w 344587"/>
                <a:gd name="connsiteY33" fmla="*/ 276075 h 344988"/>
                <a:gd name="connsiteX34" fmla="*/ 204046 w 344587"/>
                <a:gd name="connsiteY34" fmla="*/ 280504 h 344988"/>
                <a:gd name="connsiteX35" fmla="*/ 208828 w 344587"/>
                <a:gd name="connsiteY35" fmla="*/ 279492 h 344988"/>
                <a:gd name="connsiteX36" fmla="*/ 212334 w 344587"/>
                <a:gd name="connsiteY36" fmla="*/ 282882 h 344988"/>
                <a:gd name="connsiteX37" fmla="*/ 212877 w 344587"/>
                <a:gd name="connsiteY37" fmla="*/ 278016 h 344988"/>
                <a:gd name="connsiteX38" fmla="*/ 217170 w 344587"/>
                <a:gd name="connsiteY38" fmla="*/ 275693 h 344988"/>
                <a:gd name="connsiteX39" fmla="*/ 212714 w 344587"/>
                <a:gd name="connsiteY39" fmla="*/ 273670 h 344988"/>
                <a:gd name="connsiteX40" fmla="*/ 132663 w 344587"/>
                <a:gd name="connsiteY40" fmla="*/ 268858 h 344988"/>
                <a:gd name="connsiteX41" fmla="*/ 131807 w 344587"/>
                <a:gd name="connsiteY41" fmla="*/ 273670 h 344988"/>
                <a:gd name="connsiteX42" fmla="*/ 127417 w 344587"/>
                <a:gd name="connsiteY42" fmla="*/ 275693 h 344988"/>
                <a:gd name="connsiteX43" fmla="*/ 131646 w 344587"/>
                <a:gd name="connsiteY43" fmla="*/ 278016 h 344988"/>
                <a:gd name="connsiteX44" fmla="*/ 132182 w 344587"/>
                <a:gd name="connsiteY44" fmla="*/ 282882 h 344988"/>
                <a:gd name="connsiteX45" fmla="*/ 135635 w 344587"/>
                <a:gd name="connsiteY45" fmla="*/ 279492 h 344988"/>
                <a:gd name="connsiteX46" fmla="*/ 140345 w 344587"/>
                <a:gd name="connsiteY46" fmla="*/ 280504 h 344988"/>
                <a:gd name="connsiteX47" fmla="*/ 138258 w 344587"/>
                <a:gd name="connsiteY47" fmla="*/ 276075 h 344988"/>
                <a:gd name="connsiteX48" fmla="*/ 140640 w 344587"/>
                <a:gd name="connsiteY48" fmla="*/ 271811 h 344988"/>
                <a:gd name="connsiteX49" fmla="*/ 135875 w 344587"/>
                <a:gd name="connsiteY49" fmla="*/ 272467 h 344988"/>
                <a:gd name="connsiteX50" fmla="*/ 228015 w 344587"/>
                <a:gd name="connsiteY50" fmla="*/ 260644 h 344988"/>
                <a:gd name="connsiteX51" fmla="*/ 225418 w 344587"/>
                <a:gd name="connsiteY51" fmla="*/ 264769 h 344988"/>
                <a:gd name="connsiteX52" fmla="*/ 220576 w 344587"/>
                <a:gd name="connsiteY52" fmla="*/ 264959 h 344988"/>
                <a:gd name="connsiteX53" fmla="*/ 223687 w 344587"/>
                <a:gd name="connsiteY53" fmla="*/ 268704 h 344988"/>
                <a:gd name="connsiteX54" fmla="*/ 222361 w 344587"/>
                <a:gd name="connsiteY54" fmla="*/ 273372 h 344988"/>
                <a:gd name="connsiteX55" fmla="*/ 226879 w 344587"/>
                <a:gd name="connsiteY55" fmla="*/ 271581 h 344988"/>
                <a:gd name="connsiteX56" fmla="*/ 230910 w 344587"/>
                <a:gd name="connsiteY56" fmla="*/ 274268 h 344988"/>
                <a:gd name="connsiteX57" fmla="*/ 230585 w 344587"/>
                <a:gd name="connsiteY57" fmla="*/ 269410 h 344988"/>
                <a:gd name="connsiteX58" fmla="*/ 234399 w 344587"/>
                <a:gd name="connsiteY58" fmla="*/ 266398 h 344988"/>
                <a:gd name="connsiteX59" fmla="*/ 229692 w 344587"/>
                <a:gd name="connsiteY59" fmla="*/ 265204 h 344988"/>
                <a:gd name="connsiteX60" fmla="*/ 116572 w 344587"/>
                <a:gd name="connsiteY60" fmla="*/ 260644 h 344988"/>
                <a:gd name="connsiteX61" fmla="*/ 114895 w 344587"/>
                <a:gd name="connsiteY61" fmla="*/ 265204 h 344988"/>
                <a:gd name="connsiteX62" fmla="*/ 110188 w 344587"/>
                <a:gd name="connsiteY62" fmla="*/ 266398 h 344988"/>
                <a:gd name="connsiteX63" fmla="*/ 114002 w 344587"/>
                <a:gd name="connsiteY63" fmla="*/ 269410 h 344988"/>
                <a:gd name="connsiteX64" fmla="*/ 113678 w 344587"/>
                <a:gd name="connsiteY64" fmla="*/ 274268 h 344988"/>
                <a:gd name="connsiteX65" fmla="*/ 117708 w 344587"/>
                <a:gd name="connsiteY65" fmla="*/ 271581 h 344988"/>
                <a:gd name="connsiteX66" fmla="*/ 122226 w 344587"/>
                <a:gd name="connsiteY66" fmla="*/ 273372 h 344988"/>
                <a:gd name="connsiteX67" fmla="*/ 120900 w 344587"/>
                <a:gd name="connsiteY67" fmla="*/ 268704 h 344988"/>
                <a:gd name="connsiteX68" fmla="*/ 124011 w 344587"/>
                <a:gd name="connsiteY68" fmla="*/ 264959 h 344988"/>
                <a:gd name="connsiteX69" fmla="*/ 119169 w 344587"/>
                <a:gd name="connsiteY69" fmla="*/ 264769 h 344988"/>
                <a:gd name="connsiteX70" fmla="*/ 242363 w 344587"/>
                <a:gd name="connsiteY70" fmla="*/ 249625 h 344988"/>
                <a:gd name="connsiteX71" fmla="*/ 240527 w 344587"/>
                <a:gd name="connsiteY71" fmla="*/ 254100 h 344988"/>
                <a:gd name="connsiteX72" fmla="*/ 235802 w 344587"/>
                <a:gd name="connsiteY72" fmla="*/ 255124 h 344988"/>
                <a:gd name="connsiteX73" fmla="*/ 239501 w 344587"/>
                <a:gd name="connsiteY73" fmla="*/ 258251 h 344988"/>
                <a:gd name="connsiteX74" fmla="*/ 239015 w 344587"/>
                <a:gd name="connsiteY74" fmla="*/ 263048 h 344988"/>
                <a:gd name="connsiteX75" fmla="*/ 243119 w 344587"/>
                <a:gd name="connsiteY75" fmla="*/ 260515 h 344988"/>
                <a:gd name="connsiteX76" fmla="*/ 247546 w 344587"/>
                <a:gd name="connsiteY76" fmla="*/ 262455 h 344988"/>
                <a:gd name="connsiteX77" fmla="*/ 246413 w 344587"/>
                <a:gd name="connsiteY77" fmla="*/ 257766 h 344988"/>
                <a:gd name="connsiteX78" fmla="*/ 249625 w 344587"/>
                <a:gd name="connsiteY78" fmla="*/ 254154 h 344988"/>
                <a:gd name="connsiteX79" fmla="*/ 244792 w 344587"/>
                <a:gd name="connsiteY79" fmla="*/ 253776 h 344988"/>
                <a:gd name="connsiteX80" fmla="*/ 102024 w 344587"/>
                <a:gd name="connsiteY80" fmla="*/ 249625 h 344988"/>
                <a:gd name="connsiteX81" fmla="*/ 99594 w 344587"/>
                <a:gd name="connsiteY81" fmla="*/ 253776 h 344988"/>
                <a:gd name="connsiteX82" fmla="*/ 94762 w 344587"/>
                <a:gd name="connsiteY82" fmla="*/ 254154 h 344988"/>
                <a:gd name="connsiteX83" fmla="*/ 97975 w 344587"/>
                <a:gd name="connsiteY83" fmla="*/ 257766 h 344988"/>
                <a:gd name="connsiteX84" fmla="*/ 96841 w 344587"/>
                <a:gd name="connsiteY84" fmla="*/ 262455 h 344988"/>
                <a:gd name="connsiteX85" fmla="*/ 101268 w 344587"/>
                <a:gd name="connsiteY85" fmla="*/ 260515 h 344988"/>
                <a:gd name="connsiteX86" fmla="*/ 105372 w 344587"/>
                <a:gd name="connsiteY86" fmla="*/ 263048 h 344988"/>
                <a:gd name="connsiteX87" fmla="*/ 104886 w 344587"/>
                <a:gd name="connsiteY87" fmla="*/ 258251 h 344988"/>
                <a:gd name="connsiteX88" fmla="*/ 108585 w 344587"/>
                <a:gd name="connsiteY88" fmla="*/ 255124 h 344988"/>
                <a:gd name="connsiteX89" fmla="*/ 103860 w 344587"/>
                <a:gd name="connsiteY89" fmla="*/ 254100 h 344988"/>
                <a:gd name="connsiteX90" fmla="*/ 254712 w 344587"/>
                <a:gd name="connsiteY90" fmla="*/ 236203 h 344988"/>
                <a:gd name="connsiteX91" fmla="*/ 253690 w 344587"/>
                <a:gd name="connsiteY91" fmla="*/ 240928 h 344988"/>
                <a:gd name="connsiteX92" fmla="*/ 249225 w 344587"/>
                <a:gd name="connsiteY92" fmla="*/ 242764 h 344988"/>
                <a:gd name="connsiteX93" fmla="*/ 253394 w 344587"/>
                <a:gd name="connsiteY93" fmla="*/ 245220 h 344988"/>
                <a:gd name="connsiteX94" fmla="*/ 253771 w 344587"/>
                <a:gd name="connsiteY94" fmla="*/ 250026 h 344988"/>
                <a:gd name="connsiteX95" fmla="*/ 257348 w 344587"/>
                <a:gd name="connsiteY95" fmla="*/ 246813 h 344988"/>
                <a:gd name="connsiteX96" fmla="*/ 262056 w 344587"/>
                <a:gd name="connsiteY96" fmla="*/ 247974 h 344988"/>
                <a:gd name="connsiteX97" fmla="*/ 260119 w 344587"/>
                <a:gd name="connsiteY97" fmla="*/ 243520 h 344988"/>
                <a:gd name="connsiteX98" fmla="*/ 262648 w 344587"/>
                <a:gd name="connsiteY98" fmla="*/ 239416 h 344988"/>
                <a:gd name="connsiteX99" fmla="*/ 257833 w 344587"/>
                <a:gd name="connsiteY99" fmla="*/ 239902 h 344988"/>
                <a:gd name="connsiteX100" fmla="*/ 89793 w 344587"/>
                <a:gd name="connsiteY100" fmla="*/ 236203 h 344988"/>
                <a:gd name="connsiteX101" fmla="*/ 86626 w 344587"/>
                <a:gd name="connsiteY101" fmla="*/ 239902 h 344988"/>
                <a:gd name="connsiteX102" fmla="*/ 81739 w 344587"/>
                <a:gd name="connsiteY102" fmla="*/ 239416 h 344988"/>
                <a:gd name="connsiteX103" fmla="*/ 84333 w 344587"/>
                <a:gd name="connsiteY103" fmla="*/ 243520 h 344988"/>
                <a:gd name="connsiteX104" fmla="*/ 82340 w 344587"/>
                <a:gd name="connsiteY104" fmla="*/ 247974 h 344988"/>
                <a:gd name="connsiteX105" fmla="*/ 87118 w 344587"/>
                <a:gd name="connsiteY105" fmla="*/ 246813 h 344988"/>
                <a:gd name="connsiteX106" fmla="*/ 90749 w 344587"/>
                <a:gd name="connsiteY106" fmla="*/ 250026 h 344988"/>
                <a:gd name="connsiteX107" fmla="*/ 91131 w 344587"/>
                <a:gd name="connsiteY107" fmla="*/ 245220 h 344988"/>
                <a:gd name="connsiteX108" fmla="*/ 95363 w 344587"/>
                <a:gd name="connsiteY108" fmla="*/ 242764 h 344988"/>
                <a:gd name="connsiteX109" fmla="*/ 90831 w 344587"/>
                <a:gd name="connsiteY109" fmla="*/ 240928 h 344988"/>
                <a:gd name="connsiteX110" fmla="*/ 264558 w 344587"/>
                <a:gd name="connsiteY110" fmla="*/ 220977 h 344988"/>
                <a:gd name="connsiteX111" fmla="*/ 264341 w 344587"/>
                <a:gd name="connsiteY111" fmla="*/ 225819 h 344988"/>
                <a:gd name="connsiteX112" fmla="*/ 260243 w 344587"/>
                <a:gd name="connsiteY112" fmla="*/ 228416 h 344988"/>
                <a:gd name="connsiteX113" fmla="*/ 264803 w 344587"/>
                <a:gd name="connsiteY113" fmla="*/ 230093 h 344988"/>
                <a:gd name="connsiteX114" fmla="*/ 265997 w 344587"/>
                <a:gd name="connsiteY114" fmla="*/ 234800 h 344988"/>
                <a:gd name="connsiteX115" fmla="*/ 269009 w 344587"/>
                <a:gd name="connsiteY115" fmla="*/ 230986 h 344988"/>
                <a:gd name="connsiteX116" fmla="*/ 273867 w 344587"/>
                <a:gd name="connsiteY116" fmla="*/ 231311 h 344988"/>
                <a:gd name="connsiteX117" fmla="*/ 271180 w 344587"/>
                <a:gd name="connsiteY117" fmla="*/ 227280 h 344988"/>
                <a:gd name="connsiteX118" fmla="*/ 272971 w 344587"/>
                <a:gd name="connsiteY118" fmla="*/ 222762 h 344988"/>
                <a:gd name="connsiteX119" fmla="*/ 268276 w 344587"/>
                <a:gd name="connsiteY119" fmla="*/ 224088 h 344988"/>
                <a:gd name="connsiteX120" fmla="*/ 80029 w 344587"/>
                <a:gd name="connsiteY120" fmla="*/ 220977 h 344988"/>
                <a:gd name="connsiteX121" fmla="*/ 76311 w 344587"/>
                <a:gd name="connsiteY121" fmla="*/ 224088 h 344988"/>
                <a:gd name="connsiteX122" fmla="*/ 71616 w 344587"/>
                <a:gd name="connsiteY122" fmla="*/ 222762 h 344988"/>
                <a:gd name="connsiteX123" fmla="*/ 73407 w 344587"/>
                <a:gd name="connsiteY123" fmla="*/ 227280 h 344988"/>
                <a:gd name="connsiteX124" fmla="*/ 70721 w 344587"/>
                <a:gd name="connsiteY124" fmla="*/ 231311 h 344988"/>
                <a:gd name="connsiteX125" fmla="*/ 75578 w 344587"/>
                <a:gd name="connsiteY125" fmla="*/ 230986 h 344988"/>
                <a:gd name="connsiteX126" fmla="*/ 78590 w 344587"/>
                <a:gd name="connsiteY126" fmla="*/ 234800 h 344988"/>
                <a:gd name="connsiteX127" fmla="*/ 79785 w 344587"/>
                <a:gd name="connsiteY127" fmla="*/ 230093 h 344988"/>
                <a:gd name="connsiteX128" fmla="*/ 84344 w 344587"/>
                <a:gd name="connsiteY128" fmla="*/ 228416 h 344988"/>
                <a:gd name="connsiteX129" fmla="*/ 80246 w 344587"/>
                <a:gd name="connsiteY129" fmla="*/ 225819 h 344988"/>
                <a:gd name="connsiteX130" fmla="*/ 271410 w 344587"/>
                <a:gd name="connsiteY130" fmla="*/ 204148 h 344988"/>
                <a:gd name="connsiteX131" fmla="*/ 272066 w 344587"/>
                <a:gd name="connsiteY131" fmla="*/ 208985 h 344988"/>
                <a:gd name="connsiteX132" fmla="*/ 268457 w 344587"/>
                <a:gd name="connsiteY132" fmla="*/ 212245 h 344988"/>
                <a:gd name="connsiteX133" fmla="*/ 273269 w 344587"/>
                <a:gd name="connsiteY133" fmla="*/ 213115 h 344988"/>
                <a:gd name="connsiteX134" fmla="*/ 275292 w 344587"/>
                <a:gd name="connsiteY134" fmla="*/ 217571 h 344988"/>
                <a:gd name="connsiteX135" fmla="*/ 277615 w 344587"/>
                <a:gd name="connsiteY135" fmla="*/ 213278 h 344988"/>
                <a:gd name="connsiteX136" fmla="*/ 282481 w 344587"/>
                <a:gd name="connsiteY136" fmla="*/ 212734 h 344988"/>
                <a:gd name="connsiteX137" fmla="*/ 279091 w 344587"/>
                <a:gd name="connsiteY137" fmla="*/ 209229 h 344988"/>
                <a:gd name="connsiteX138" fmla="*/ 280076 w 344587"/>
                <a:gd name="connsiteY138" fmla="*/ 204447 h 344988"/>
                <a:gd name="connsiteX139" fmla="*/ 275674 w 344587"/>
                <a:gd name="connsiteY139" fmla="*/ 206566 h 344988"/>
                <a:gd name="connsiteX140" fmla="*/ 73019 w 344587"/>
                <a:gd name="connsiteY140" fmla="*/ 204148 h 344988"/>
                <a:gd name="connsiteX141" fmla="*/ 68816 w 344587"/>
                <a:gd name="connsiteY141" fmla="*/ 206566 h 344988"/>
                <a:gd name="connsiteX142" fmla="*/ 64477 w 344587"/>
                <a:gd name="connsiteY142" fmla="*/ 204447 h 344988"/>
                <a:gd name="connsiteX143" fmla="*/ 65447 w 344587"/>
                <a:gd name="connsiteY143" fmla="*/ 209229 h 344988"/>
                <a:gd name="connsiteX144" fmla="*/ 62106 w 344587"/>
                <a:gd name="connsiteY144" fmla="*/ 212734 h 344988"/>
                <a:gd name="connsiteX145" fmla="*/ 66903 w 344587"/>
                <a:gd name="connsiteY145" fmla="*/ 213278 h 344988"/>
                <a:gd name="connsiteX146" fmla="*/ 69193 w 344587"/>
                <a:gd name="connsiteY146" fmla="*/ 217571 h 344988"/>
                <a:gd name="connsiteX147" fmla="*/ 71187 w 344587"/>
                <a:gd name="connsiteY147" fmla="*/ 213115 h 344988"/>
                <a:gd name="connsiteX148" fmla="*/ 75929 w 344587"/>
                <a:gd name="connsiteY148" fmla="*/ 212245 h 344988"/>
                <a:gd name="connsiteX149" fmla="*/ 72373 w 344587"/>
                <a:gd name="connsiteY149" fmla="*/ 208985 h 344988"/>
                <a:gd name="connsiteX150" fmla="*/ 283915 w 344587"/>
                <a:gd name="connsiteY150" fmla="*/ 185116 h 344988"/>
                <a:gd name="connsiteX151" fmla="*/ 279950 w 344587"/>
                <a:gd name="connsiteY151" fmla="*/ 187963 h 344988"/>
                <a:gd name="connsiteX152" fmla="*/ 275388 w 344587"/>
                <a:gd name="connsiteY152" fmla="*/ 186320 h 344988"/>
                <a:gd name="connsiteX153" fmla="*/ 276854 w 344587"/>
                <a:gd name="connsiteY153" fmla="*/ 191001 h 344988"/>
                <a:gd name="connsiteX154" fmla="*/ 273867 w 344587"/>
                <a:gd name="connsiteY154" fmla="*/ 194861 h 344988"/>
                <a:gd name="connsiteX155" fmla="*/ 278755 w 344587"/>
                <a:gd name="connsiteY155" fmla="*/ 194888 h 344988"/>
                <a:gd name="connsiteX156" fmla="*/ 281498 w 344587"/>
                <a:gd name="connsiteY156" fmla="*/ 198939 h 344988"/>
                <a:gd name="connsiteX157" fmla="*/ 283019 w 344587"/>
                <a:gd name="connsiteY157" fmla="*/ 194286 h 344988"/>
                <a:gd name="connsiteX158" fmla="*/ 287690 w 344587"/>
                <a:gd name="connsiteY158" fmla="*/ 192917 h 344988"/>
                <a:gd name="connsiteX159" fmla="*/ 283780 w 344587"/>
                <a:gd name="connsiteY159" fmla="*/ 190015 h 344988"/>
                <a:gd name="connsiteX160" fmla="*/ 60472 w 344587"/>
                <a:gd name="connsiteY160" fmla="*/ 185116 h 344988"/>
                <a:gd name="connsiteX161" fmla="*/ 60608 w 344587"/>
                <a:gd name="connsiteY161" fmla="*/ 190015 h 344988"/>
                <a:gd name="connsiteX162" fmla="*/ 56697 w 344587"/>
                <a:gd name="connsiteY162" fmla="*/ 192917 h 344988"/>
                <a:gd name="connsiteX163" fmla="*/ 61368 w 344587"/>
                <a:gd name="connsiteY163" fmla="*/ 194286 h 344988"/>
                <a:gd name="connsiteX164" fmla="*/ 62889 w 344587"/>
                <a:gd name="connsiteY164" fmla="*/ 198939 h 344988"/>
                <a:gd name="connsiteX165" fmla="*/ 65632 w 344587"/>
                <a:gd name="connsiteY165" fmla="*/ 194888 h 344988"/>
                <a:gd name="connsiteX166" fmla="*/ 70520 w 344587"/>
                <a:gd name="connsiteY166" fmla="*/ 194861 h 344988"/>
                <a:gd name="connsiteX167" fmla="*/ 67533 w 344587"/>
                <a:gd name="connsiteY167" fmla="*/ 191001 h 344988"/>
                <a:gd name="connsiteX168" fmla="*/ 68999 w 344587"/>
                <a:gd name="connsiteY168" fmla="*/ 186320 h 344988"/>
                <a:gd name="connsiteX169" fmla="*/ 64437 w 344587"/>
                <a:gd name="connsiteY169" fmla="*/ 187963 h 344988"/>
                <a:gd name="connsiteX170" fmla="*/ 284437 w 344587"/>
                <a:gd name="connsiteY170" fmla="*/ 165482 h 344988"/>
                <a:gd name="connsiteX171" fmla="*/ 281057 w 344587"/>
                <a:gd name="connsiteY171" fmla="*/ 168981 h 344988"/>
                <a:gd name="connsiteX172" fmla="*/ 276271 w 344587"/>
                <a:gd name="connsiteY172" fmla="*/ 168161 h 344988"/>
                <a:gd name="connsiteX173" fmla="*/ 278542 w 344587"/>
                <a:gd name="connsiteY173" fmla="*/ 172508 h 344988"/>
                <a:gd name="connsiteX174" fmla="*/ 276271 w 344587"/>
                <a:gd name="connsiteY174" fmla="*/ 176827 h 344988"/>
                <a:gd name="connsiteX175" fmla="*/ 281057 w 344587"/>
                <a:gd name="connsiteY175" fmla="*/ 176007 h 344988"/>
                <a:gd name="connsiteX176" fmla="*/ 284437 w 344587"/>
                <a:gd name="connsiteY176" fmla="*/ 179506 h 344988"/>
                <a:gd name="connsiteX177" fmla="*/ 285140 w 344587"/>
                <a:gd name="connsiteY177" fmla="*/ 174667 h 344988"/>
                <a:gd name="connsiteX178" fmla="*/ 289493 w 344587"/>
                <a:gd name="connsiteY178" fmla="*/ 172508 h 344988"/>
                <a:gd name="connsiteX179" fmla="*/ 285140 w 344587"/>
                <a:gd name="connsiteY179" fmla="*/ 170321 h 344988"/>
                <a:gd name="connsiteX180" fmla="*/ 60027 w 344587"/>
                <a:gd name="connsiteY180" fmla="*/ 165482 h 344988"/>
                <a:gd name="connsiteX181" fmla="*/ 59313 w 344587"/>
                <a:gd name="connsiteY181" fmla="*/ 170321 h 344988"/>
                <a:gd name="connsiteX182" fmla="*/ 54894 w 344587"/>
                <a:gd name="connsiteY182" fmla="*/ 172508 h 344988"/>
                <a:gd name="connsiteX183" fmla="*/ 59313 w 344587"/>
                <a:gd name="connsiteY183" fmla="*/ 174667 h 344988"/>
                <a:gd name="connsiteX184" fmla="*/ 60027 w 344587"/>
                <a:gd name="connsiteY184" fmla="*/ 179506 h 344988"/>
                <a:gd name="connsiteX185" fmla="*/ 63458 w 344587"/>
                <a:gd name="connsiteY185" fmla="*/ 176007 h 344988"/>
                <a:gd name="connsiteX186" fmla="*/ 68317 w 344587"/>
                <a:gd name="connsiteY186" fmla="*/ 176827 h 344988"/>
                <a:gd name="connsiteX187" fmla="*/ 66011 w 344587"/>
                <a:gd name="connsiteY187" fmla="*/ 172508 h 344988"/>
                <a:gd name="connsiteX188" fmla="*/ 68317 w 344587"/>
                <a:gd name="connsiteY188" fmla="*/ 168161 h 344988"/>
                <a:gd name="connsiteX189" fmla="*/ 63458 w 344587"/>
                <a:gd name="connsiteY189" fmla="*/ 168981 h 344988"/>
                <a:gd name="connsiteX190" fmla="*/ 281498 w 344587"/>
                <a:gd name="connsiteY190" fmla="*/ 146049 h 344988"/>
                <a:gd name="connsiteX191" fmla="*/ 278755 w 344587"/>
                <a:gd name="connsiteY191" fmla="*/ 150092 h 344988"/>
                <a:gd name="connsiteX192" fmla="*/ 273867 w 344587"/>
                <a:gd name="connsiteY192" fmla="*/ 150120 h 344988"/>
                <a:gd name="connsiteX193" fmla="*/ 276854 w 344587"/>
                <a:gd name="connsiteY193" fmla="*/ 153999 h 344988"/>
                <a:gd name="connsiteX194" fmla="*/ 275388 w 344587"/>
                <a:gd name="connsiteY194" fmla="*/ 158670 h 344988"/>
                <a:gd name="connsiteX195" fmla="*/ 279950 w 344587"/>
                <a:gd name="connsiteY195" fmla="*/ 157004 h 344988"/>
                <a:gd name="connsiteX196" fmla="*/ 283915 w 344587"/>
                <a:gd name="connsiteY196" fmla="*/ 159872 h 344988"/>
                <a:gd name="connsiteX197" fmla="*/ 283780 w 344587"/>
                <a:gd name="connsiteY197" fmla="*/ 154955 h 344988"/>
                <a:gd name="connsiteX198" fmla="*/ 287690 w 344587"/>
                <a:gd name="connsiteY198" fmla="*/ 152059 h 344988"/>
                <a:gd name="connsiteX199" fmla="*/ 283019 w 344587"/>
                <a:gd name="connsiteY199" fmla="*/ 150693 h 344988"/>
                <a:gd name="connsiteX200" fmla="*/ 62889 w 344587"/>
                <a:gd name="connsiteY200" fmla="*/ 146049 h 344988"/>
                <a:gd name="connsiteX201" fmla="*/ 61368 w 344587"/>
                <a:gd name="connsiteY201" fmla="*/ 150693 h 344988"/>
                <a:gd name="connsiteX202" fmla="*/ 56697 w 344587"/>
                <a:gd name="connsiteY202" fmla="*/ 152059 h 344988"/>
                <a:gd name="connsiteX203" fmla="*/ 60608 w 344587"/>
                <a:gd name="connsiteY203" fmla="*/ 154955 h 344988"/>
                <a:gd name="connsiteX204" fmla="*/ 60472 w 344587"/>
                <a:gd name="connsiteY204" fmla="*/ 159872 h 344988"/>
                <a:gd name="connsiteX205" fmla="*/ 64437 w 344587"/>
                <a:gd name="connsiteY205" fmla="*/ 157004 h 344988"/>
                <a:gd name="connsiteX206" fmla="*/ 68999 w 344587"/>
                <a:gd name="connsiteY206" fmla="*/ 158670 h 344988"/>
                <a:gd name="connsiteX207" fmla="*/ 67533 w 344587"/>
                <a:gd name="connsiteY207" fmla="*/ 153999 h 344988"/>
                <a:gd name="connsiteX208" fmla="*/ 70520 w 344587"/>
                <a:gd name="connsiteY208" fmla="*/ 150120 h 344988"/>
                <a:gd name="connsiteX209" fmla="*/ 65632 w 344587"/>
                <a:gd name="connsiteY209" fmla="*/ 150092 h 344988"/>
                <a:gd name="connsiteX210" fmla="*/ 275292 w 344587"/>
                <a:gd name="connsiteY210" fmla="*/ 127618 h 344988"/>
                <a:gd name="connsiteX211" fmla="*/ 273269 w 344587"/>
                <a:gd name="connsiteY211" fmla="*/ 132007 h 344988"/>
                <a:gd name="connsiteX212" fmla="*/ 268457 w 344587"/>
                <a:gd name="connsiteY212" fmla="*/ 132864 h 344988"/>
                <a:gd name="connsiteX213" fmla="*/ 272066 w 344587"/>
                <a:gd name="connsiteY213" fmla="*/ 136103 h 344988"/>
                <a:gd name="connsiteX214" fmla="*/ 271410 w 344587"/>
                <a:gd name="connsiteY214" fmla="*/ 140840 h 344988"/>
                <a:gd name="connsiteX215" fmla="*/ 275674 w 344587"/>
                <a:gd name="connsiteY215" fmla="*/ 138458 h 344988"/>
                <a:gd name="connsiteX216" fmla="*/ 280076 w 344587"/>
                <a:gd name="connsiteY216" fmla="*/ 140546 h 344988"/>
                <a:gd name="connsiteX217" fmla="*/ 279091 w 344587"/>
                <a:gd name="connsiteY217" fmla="*/ 135862 h 344988"/>
                <a:gd name="connsiteX218" fmla="*/ 282481 w 344587"/>
                <a:gd name="connsiteY218" fmla="*/ 132382 h 344988"/>
                <a:gd name="connsiteX219" fmla="*/ 277615 w 344587"/>
                <a:gd name="connsiteY219" fmla="*/ 131847 h 344988"/>
                <a:gd name="connsiteX220" fmla="*/ 69193 w 344587"/>
                <a:gd name="connsiteY220" fmla="*/ 127618 h 344988"/>
                <a:gd name="connsiteX221" fmla="*/ 66903 w 344587"/>
                <a:gd name="connsiteY221" fmla="*/ 131847 h 344988"/>
                <a:gd name="connsiteX222" fmla="*/ 62106 w 344587"/>
                <a:gd name="connsiteY222" fmla="*/ 132382 h 344988"/>
                <a:gd name="connsiteX223" fmla="*/ 65447 w 344587"/>
                <a:gd name="connsiteY223" fmla="*/ 135862 h 344988"/>
                <a:gd name="connsiteX224" fmla="*/ 64477 w 344587"/>
                <a:gd name="connsiteY224" fmla="*/ 140546 h 344988"/>
                <a:gd name="connsiteX225" fmla="*/ 68816 w 344587"/>
                <a:gd name="connsiteY225" fmla="*/ 138458 h 344988"/>
                <a:gd name="connsiteX226" fmla="*/ 73019 w 344587"/>
                <a:gd name="connsiteY226" fmla="*/ 140840 h 344988"/>
                <a:gd name="connsiteX227" fmla="*/ 72373 w 344587"/>
                <a:gd name="connsiteY227" fmla="*/ 136103 h 344988"/>
                <a:gd name="connsiteX228" fmla="*/ 75929 w 344587"/>
                <a:gd name="connsiteY228" fmla="*/ 132864 h 344988"/>
                <a:gd name="connsiteX229" fmla="*/ 71187 w 344587"/>
                <a:gd name="connsiteY229" fmla="*/ 132007 h 344988"/>
                <a:gd name="connsiteX230" fmla="*/ 265997 w 344587"/>
                <a:gd name="connsiteY230" fmla="*/ 110188 h 344988"/>
                <a:gd name="connsiteX231" fmla="*/ 264803 w 344587"/>
                <a:gd name="connsiteY231" fmla="*/ 114963 h 344988"/>
                <a:gd name="connsiteX232" fmla="*/ 260243 w 344587"/>
                <a:gd name="connsiteY232" fmla="*/ 116665 h 344988"/>
                <a:gd name="connsiteX233" fmla="*/ 264341 w 344587"/>
                <a:gd name="connsiteY233" fmla="*/ 119299 h 344988"/>
                <a:gd name="connsiteX234" fmla="*/ 264558 w 344587"/>
                <a:gd name="connsiteY234" fmla="*/ 124212 h 344988"/>
                <a:gd name="connsiteX235" fmla="*/ 268276 w 344587"/>
                <a:gd name="connsiteY235" fmla="*/ 121083 h 344988"/>
                <a:gd name="connsiteX236" fmla="*/ 272971 w 344587"/>
                <a:gd name="connsiteY236" fmla="*/ 122401 h 344988"/>
                <a:gd name="connsiteX237" fmla="*/ 271180 w 344587"/>
                <a:gd name="connsiteY237" fmla="*/ 117845 h 344988"/>
                <a:gd name="connsiteX238" fmla="*/ 273867 w 344587"/>
                <a:gd name="connsiteY238" fmla="*/ 113756 h 344988"/>
                <a:gd name="connsiteX239" fmla="*/ 269009 w 344587"/>
                <a:gd name="connsiteY239" fmla="*/ 114057 h 344988"/>
                <a:gd name="connsiteX240" fmla="*/ 78590 w 344587"/>
                <a:gd name="connsiteY240" fmla="*/ 110188 h 344988"/>
                <a:gd name="connsiteX241" fmla="*/ 75578 w 344587"/>
                <a:gd name="connsiteY241" fmla="*/ 114057 h 344988"/>
                <a:gd name="connsiteX242" fmla="*/ 70721 w 344587"/>
                <a:gd name="connsiteY242" fmla="*/ 113756 h 344988"/>
                <a:gd name="connsiteX243" fmla="*/ 73407 w 344587"/>
                <a:gd name="connsiteY243" fmla="*/ 117845 h 344988"/>
                <a:gd name="connsiteX244" fmla="*/ 71616 w 344587"/>
                <a:gd name="connsiteY244" fmla="*/ 122401 h 344988"/>
                <a:gd name="connsiteX245" fmla="*/ 76311 w 344587"/>
                <a:gd name="connsiteY245" fmla="*/ 121083 h 344988"/>
                <a:gd name="connsiteX246" fmla="*/ 80029 w 344587"/>
                <a:gd name="connsiteY246" fmla="*/ 124212 h 344988"/>
                <a:gd name="connsiteX247" fmla="*/ 80246 w 344587"/>
                <a:gd name="connsiteY247" fmla="*/ 119299 h 344988"/>
                <a:gd name="connsiteX248" fmla="*/ 84344 w 344587"/>
                <a:gd name="connsiteY248" fmla="*/ 116665 h 344988"/>
                <a:gd name="connsiteX249" fmla="*/ 79785 w 344587"/>
                <a:gd name="connsiteY249" fmla="*/ 114963 h 344988"/>
                <a:gd name="connsiteX250" fmla="*/ 172293 w 344587"/>
                <a:gd name="connsiteY250" fmla="*/ 107507 h 344988"/>
                <a:gd name="connsiteX251" fmla="*/ 164742 w 344587"/>
                <a:gd name="connsiteY251" fmla="*/ 112163 h 344988"/>
                <a:gd name="connsiteX252" fmla="*/ 148477 w 344587"/>
                <a:gd name="connsiteY252" fmla="*/ 145335 h 344988"/>
                <a:gd name="connsiteX253" fmla="*/ 111881 w 344587"/>
                <a:gd name="connsiteY253" fmla="*/ 150766 h 344988"/>
                <a:gd name="connsiteX254" fmla="*/ 104910 w 344587"/>
                <a:gd name="connsiteY254" fmla="*/ 156392 h 344988"/>
                <a:gd name="connsiteX255" fmla="*/ 107234 w 344587"/>
                <a:gd name="connsiteY255" fmla="*/ 165121 h 344988"/>
                <a:gd name="connsiteX256" fmla="*/ 133567 w 344587"/>
                <a:gd name="connsiteY256" fmla="*/ 190922 h 344988"/>
                <a:gd name="connsiteX257" fmla="*/ 127371 w 344587"/>
                <a:gd name="connsiteY257" fmla="*/ 227392 h 344988"/>
                <a:gd name="connsiteX258" fmla="*/ 130663 w 344587"/>
                <a:gd name="connsiteY258" fmla="*/ 235733 h 344988"/>
                <a:gd name="connsiteX259" fmla="*/ 135697 w 344587"/>
                <a:gd name="connsiteY259" fmla="*/ 237479 h 344988"/>
                <a:gd name="connsiteX260" fmla="*/ 139570 w 344587"/>
                <a:gd name="connsiteY260" fmla="*/ 236509 h 344988"/>
                <a:gd name="connsiteX261" fmla="*/ 172293 w 344587"/>
                <a:gd name="connsiteY261" fmla="*/ 219244 h 344988"/>
                <a:gd name="connsiteX262" fmla="*/ 205016 w 344587"/>
                <a:gd name="connsiteY262" fmla="*/ 236509 h 344988"/>
                <a:gd name="connsiteX263" fmla="*/ 209083 w 344587"/>
                <a:gd name="connsiteY263" fmla="*/ 237479 h 344988"/>
                <a:gd name="connsiteX264" fmla="*/ 213923 w 344587"/>
                <a:gd name="connsiteY264" fmla="*/ 235733 h 344988"/>
                <a:gd name="connsiteX265" fmla="*/ 217409 w 344587"/>
                <a:gd name="connsiteY265" fmla="*/ 227392 h 344988"/>
                <a:gd name="connsiteX266" fmla="*/ 211213 w 344587"/>
                <a:gd name="connsiteY266" fmla="*/ 190922 h 344988"/>
                <a:gd name="connsiteX267" fmla="*/ 237546 w 344587"/>
                <a:gd name="connsiteY267" fmla="*/ 165121 h 344988"/>
                <a:gd name="connsiteX268" fmla="*/ 239676 w 344587"/>
                <a:gd name="connsiteY268" fmla="*/ 156392 h 344988"/>
                <a:gd name="connsiteX269" fmla="*/ 232899 w 344587"/>
                <a:gd name="connsiteY269" fmla="*/ 150766 h 344988"/>
                <a:gd name="connsiteX270" fmla="*/ 196303 w 344587"/>
                <a:gd name="connsiteY270" fmla="*/ 145335 h 344988"/>
                <a:gd name="connsiteX271" fmla="*/ 180038 w 344587"/>
                <a:gd name="connsiteY271" fmla="*/ 112163 h 344988"/>
                <a:gd name="connsiteX272" fmla="*/ 172293 w 344587"/>
                <a:gd name="connsiteY272" fmla="*/ 107507 h 344988"/>
                <a:gd name="connsiteX273" fmla="*/ 253771 w 344587"/>
                <a:gd name="connsiteY273" fmla="*/ 94962 h 344988"/>
                <a:gd name="connsiteX274" fmla="*/ 253394 w 344587"/>
                <a:gd name="connsiteY274" fmla="*/ 99795 h 344988"/>
                <a:gd name="connsiteX275" fmla="*/ 249225 w 344587"/>
                <a:gd name="connsiteY275" fmla="*/ 102225 h 344988"/>
                <a:gd name="connsiteX276" fmla="*/ 253690 w 344587"/>
                <a:gd name="connsiteY276" fmla="*/ 104061 h 344988"/>
                <a:gd name="connsiteX277" fmla="*/ 254712 w 344587"/>
                <a:gd name="connsiteY277" fmla="*/ 108785 h 344988"/>
                <a:gd name="connsiteX278" fmla="*/ 257833 w 344587"/>
                <a:gd name="connsiteY278" fmla="*/ 105114 h 344988"/>
                <a:gd name="connsiteX279" fmla="*/ 262648 w 344587"/>
                <a:gd name="connsiteY279" fmla="*/ 105573 h 344988"/>
                <a:gd name="connsiteX280" fmla="*/ 260119 w 344587"/>
                <a:gd name="connsiteY280" fmla="*/ 101469 h 344988"/>
                <a:gd name="connsiteX281" fmla="*/ 262056 w 344587"/>
                <a:gd name="connsiteY281" fmla="*/ 97041 h 344988"/>
                <a:gd name="connsiteX282" fmla="*/ 257348 w 344587"/>
                <a:gd name="connsiteY282" fmla="*/ 98175 h 344988"/>
                <a:gd name="connsiteX283" fmla="*/ 90749 w 344587"/>
                <a:gd name="connsiteY283" fmla="*/ 94962 h 344988"/>
                <a:gd name="connsiteX284" fmla="*/ 87118 w 344587"/>
                <a:gd name="connsiteY284" fmla="*/ 98175 h 344988"/>
                <a:gd name="connsiteX285" fmla="*/ 82340 w 344587"/>
                <a:gd name="connsiteY285" fmla="*/ 97041 h 344988"/>
                <a:gd name="connsiteX286" fmla="*/ 84333 w 344587"/>
                <a:gd name="connsiteY286" fmla="*/ 101469 h 344988"/>
                <a:gd name="connsiteX287" fmla="*/ 81739 w 344587"/>
                <a:gd name="connsiteY287" fmla="*/ 105573 h 344988"/>
                <a:gd name="connsiteX288" fmla="*/ 86626 w 344587"/>
                <a:gd name="connsiteY288" fmla="*/ 105114 h 344988"/>
                <a:gd name="connsiteX289" fmla="*/ 89793 w 344587"/>
                <a:gd name="connsiteY289" fmla="*/ 108785 h 344988"/>
                <a:gd name="connsiteX290" fmla="*/ 90831 w 344587"/>
                <a:gd name="connsiteY290" fmla="*/ 104061 h 344988"/>
                <a:gd name="connsiteX291" fmla="*/ 95363 w 344587"/>
                <a:gd name="connsiteY291" fmla="*/ 102225 h 344988"/>
                <a:gd name="connsiteX292" fmla="*/ 91131 w 344587"/>
                <a:gd name="connsiteY292" fmla="*/ 99795 h 344988"/>
                <a:gd name="connsiteX293" fmla="*/ 239015 w 344587"/>
                <a:gd name="connsiteY293" fmla="*/ 81940 h 344988"/>
                <a:gd name="connsiteX294" fmla="*/ 239501 w 344587"/>
                <a:gd name="connsiteY294" fmla="*/ 86827 h 344988"/>
                <a:gd name="connsiteX295" fmla="*/ 235802 w 344587"/>
                <a:gd name="connsiteY295" fmla="*/ 89993 h 344988"/>
                <a:gd name="connsiteX296" fmla="*/ 240527 w 344587"/>
                <a:gd name="connsiteY296" fmla="*/ 91031 h 344988"/>
                <a:gd name="connsiteX297" fmla="*/ 242363 w 344587"/>
                <a:gd name="connsiteY297" fmla="*/ 95563 h 344988"/>
                <a:gd name="connsiteX298" fmla="*/ 244792 w 344587"/>
                <a:gd name="connsiteY298" fmla="*/ 91331 h 344988"/>
                <a:gd name="connsiteX299" fmla="*/ 249625 w 344587"/>
                <a:gd name="connsiteY299" fmla="*/ 90976 h 344988"/>
                <a:gd name="connsiteX300" fmla="*/ 246413 w 344587"/>
                <a:gd name="connsiteY300" fmla="*/ 87318 h 344988"/>
                <a:gd name="connsiteX301" fmla="*/ 247546 w 344587"/>
                <a:gd name="connsiteY301" fmla="*/ 82568 h 344988"/>
                <a:gd name="connsiteX302" fmla="*/ 243119 w 344587"/>
                <a:gd name="connsiteY302" fmla="*/ 84533 h 344988"/>
                <a:gd name="connsiteX303" fmla="*/ 105372 w 344587"/>
                <a:gd name="connsiteY303" fmla="*/ 81940 h 344988"/>
                <a:gd name="connsiteX304" fmla="*/ 101268 w 344587"/>
                <a:gd name="connsiteY304" fmla="*/ 84533 h 344988"/>
                <a:gd name="connsiteX305" fmla="*/ 96841 w 344587"/>
                <a:gd name="connsiteY305" fmla="*/ 82568 h 344988"/>
                <a:gd name="connsiteX306" fmla="*/ 97975 w 344587"/>
                <a:gd name="connsiteY306" fmla="*/ 87318 h 344988"/>
                <a:gd name="connsiteX307" fmla="*/ 94762 w 344587"/>
                <a:gd name="connsiteY307" fmla="*/ 90976 h 344988"/>
                <a:gd name="connsiteX308" fmla="*/ 99594 w 344587"/>
                <a:gd name="connsiteY308" fmla="*/ 91331 h 344988"/>
                <a:gd name="connsiteX309" fmla="*/ 102024 w 344587"/>
                <a:gd name="connsiteY309" fmla="*/ 95563 h 344988"/>
                <a:gd name="connsiteX310" fmla="*/ 103860 w 344587"/>
                <a:gd name="connsiteY310" fmla="*/ 91031 h 344988"/>
                <a:gd name="connsiteX311" fmla="*/ 108585 w 344587"/>
                <a:gd name="connsiteY311" fmla="*/ 89993 h 344988"/>
                <a:gd name="connsiteX312" fmla="*/ 104886 w 344587"/>
                <a:gd name="connsiteY312" fmla="*/ 86827 h 344988"/>
                <a:gd name="connsiteX313" fmla="*/ 230910 w 344587"/>
                <a:gd name="connsiteY313" fmla="*/ 70720 h 344988"/>
                <a:gd name="connsiteX314" fmla="*/ 226879 w 344587"/>
                <a:gd name="connsiteY314" fmla="*/ 73474 h 344988"/>
                <a:gd name="connsiteX315" fmla="*/ 222361 w 344587"/>
                <a:gd name="connsiteY315" fmla="*/ 71629 h 344988"/>
                <a:gd name="connsiteX316" fmla="*/ 223687 w 344587"/>
                <a:gd name="connsiteY316" fmla="*/ 76393 h 344988"/>
                <a:gd name="connsiteX317" fmla="*/ 220576 w 344587"/>
                <a:gd name="connsiteY317" fmla="*/ 80193 h 344988"/>
                <a:gd name="connsiteX318" fmla="*/ 225418 w 344587"/>
                <a:gd name="connsiteY318" fmla="*/ 80386 h 344988"/>
                <a:gd name="connsiteX319" fmla="*/ 228015 w 344587"/>
                <a:gd name="connsiteY319" fmla="*/ 84544 h 344988"/>
                <a:gd name="connsiteX320" fmla="*/ 229692 w 344587"/>
                <a:gd name="connsiteY320" fmla="*/ 79918 h 344988"/>
                <a:gd name="connsiteX321" fmla="*/ 234399 w 344587"/>
                <a:gd name="connsiteY321" fmla="*/ 78706 h 344988"/>
                <a:gd name="connsiteX322" fmla="*/ 230585 w 344587"/>
                <a:gd name="connsiteY322" fmla="*/ 75650 h 344988"/>
                <a:gd name="connsiteX323" fmla="*/ 113678 w 344587"/>
                <a:gd name="connsiteY323" fmla="*/ 70720 h 344988"/>
                <a:gd name="connsiteX324" fmla="*/ 114002 w 344587"/>
                <a:gd name="connsiteY324" fmla="*/ 75650 h 344988"/>
                <a:gd name="connsiteX325" fmla="*/ 110188 w 344587"/>
                <a:gd name="connsiteY325" fmla="*/ 78706 h 344988"/>
                <a:gd name="connsiteX326" fmla="*/ 114895 w 344587"/>
                <a:gd name="connsiteY326" fmla="*/ 79918 h 344988"/>
                <a:gd name="connsiteX327" fmla="*/ 116572 w 344587"/>
                <a:gd name="connsiteY327" fmla="*/ 84544 h 344988"/>
                <a:gd name="connsiteX328" fmla="*/ 119169 w 344587"/>
                <a:gd name="connsiteY328" fmla="*/ 80386 h 344988"/>
                <a:gd name="connsiteX329" fmla="*/ 124011 w 344587"/>
                <a:gd name="connsiteY329" fmla="*/ 80193 h 344988"/>
                <a:gd name="connsiteX330" fmla="*/ 120900 w 344587"/>
                <a:gd name="connsiteY330" fmla="*/ 76393 h 344988"/>
                <a:gd name="connsiteX331" fmla="*/ 122226 w 344587"/>
                <a:gd name="connsiteY331" fmla="*/ 71629 h 344988"/>
                <a:gd name="connsiteX332" fmla="*/ 117708 w 344587"/>
                <a:gd name="connsiteY332" fmla="*/ 73474 h 344988"/>
                <a:gd name="connsiteX333" fmla="*/ 212334 w 344587"/>
                <a:gd name="connsiteY333" fmla="*/ 62106 h 344988"/>
                <a:gd name="connsiteX334" fmla="*/ 208828 w 344587"/>
                <a:gd name="connsiteY334" fmla="*/ 65489 h 344988"/>
                <a:gd name="connsiteX335" fmla="*/ 204046 w 344587"/>
                <a:gd name="connsiteY335" fmla="*/ 64507 h 344988"/>
                <a:gd name="connsiteX336" fmla="*/ 206165 w 344587"/>
                <a:gd name="connsiteY336" fmla="*/ 68900 h 344988"/>
                <a:gd name="connsiteX337" fmla="*/ 203747 w 344587"/>
                <a:gd name="connsiteY337" fmla="*/ 73156 h 344988"/>
                <a:gd name="connsiteX338" fmla="*/ 208584 w 344587"/>
                <a:gd name="connsiteY338" fmla="*/ 72501 h 344988"/>
                <a:gd name="connsiteX339" fmla="*/ 211844 w 344587"/>
                <a:gd name="connsiteY339" fmla="*/ 76130 h 344988"/>
                <a:gd name="connsiteX340" fmla="*/ 212714 w 344587"/>
                <a:gd name="connsiteY340" fmla="*/ 71301 h 344988"/>
                <a:gd name="connsiteX341" fmla="*/ 217170 w 344587"/>
                <a:gd name="connsiteY341" fmla="*/ 69282 h 344988"/>
                <a:gd name="connsiteX342" fmla="*/ 212877 w 344587"/>
                <a:gd name="connsiteY342" fmla="*/ 66962 h 344988"/>
                <a:gd name="connsiteX343" fmla="*/ 132182 w 344587"/>
                <a:gd name="connsiteY343" fmla="*/ 62106 h 344988"/>
                <a:gd name="connsiteX344" fmla="*/ 131646 w 344587"/>
                <a:gd name="connsiteY344" fmla="*/ 66962 h 344988"/>
                <a:gd name="connsiteX345" fmla="*/ 127417 w 344587"/>
                <a:gd name="connsiteY345" fmla="*/ 69282 h 344988"/>
                <a:gd name="connsiteX346" fmla="*/ 131807 w 344587"/>
                <a:gd name="connsiteY346" fmla="*/ 71301 h 344988"/>
                <a:gd name="connsiteX347" fmla="*/ 132663 w 344587"/>
                <a:gd name="connsiteY347" fmla="*/ 76130 h 344988"/>
                <a:gd name="connsiteX348" fmla="*/ 135875 w 344587"/>
                <a:gd name="connsiteY348" fmla="*/ 72501 h 344988"/>
                <a:gd name="connsiteX349" fmla="*/ 140640 w 344587"/>
                <a:gd name="connsiteY349" fmla="*/ 73156 h 344988"/>
                <a:gd name="connsiteX350" fmla="*/ 138258 w 344587"/>
                <a:gd name="connsiteY350" fmla="*/ 68900 h 344988"/>
                <a:gd name="connsiteX351" fmla="*/ 140345 w 344587"/>
                <a:gd name="connsiteY351" fmla="*/ 64507 h 344988"/>
                <a:gd name="connsiteX352" fmla="*/ 135635 w 344587"/>
                <a:gd name="connsiteY352" fmla="*/ 65489 h 344988"/>
                <a:gd name="connsiteX353" fmla="*/ 192615 w 344587"/>
                <a:gd name="connsiteY353" fmla="*/ 56897 h 344988"/>
                <a:gd name="connsiteX354" fmla="*/ 189761 w 344587"/>
                <a:gd name="connsiteY354" fmla="*/ 60835 h 344988"/>
                <a:gd name="connsiteX355" fmla="*/ 184915 w 344587"/>
                <a:gd name="connsiteY355" fmla="*/ 60672 h 344988"/>
                <a:gd name="connsiteX356" fmla="*/ 187742 w 344587"/>
                <a:gd name="connsiteY356" fmla="*/ 64637 h 344988"/>
                <a:gd name="connsiteX357" fmla="*/ 186127 w 344587"/>
                <a:gd name="connsiteY357" fmla="*/ 69227 h 344988"/>
                <a:gd name="connsiteX358" fmla="*/ 190704 w 344587"/>
                <a:gd name="connsiteY358" fmla="*/ 67733 h 344988"/>
                <a:gd name="connsiteX359" fmla="*/ 194527 w 344587"/>
                <a:gd name="connsiteY359" fmla="*/ 70720 h 344988"/>
                <a:gd name="connsiteX360" fmla="*/ 194554 w 344587"/>
                <a:gd name="connsiteY360" fmla="*/ 65832 h 344988"/>
                <a:gd name="connsiteX361" fmla="*/ 198538 w 344587"/>
                <a:gd name="connsiteY361" fmla="*/ 63089 h 344988"/>
                <a:gd name="connsiteX362" fmla="*/ 193961 w 344587"/>
                <a:gd name="connsiteY362" fmla="*/ 61568 h 344988"/>
                <a:gd name="connsiteX363" fmla="*/ 151859 w 344587"/>
                <a:gd name="connsiteY363" fmla="*/ 56897 h 344988"/>
                <a:gd name="connsiteX364" fmla="*/ 150493 w 344587"/>
                <a:gd name="connsiteY364" fmla="*/ 61568 h 344988"/>
                <a:gd name="connsiteX365" fmla="*/ 145849 w 344587"/>
                <a:gd name="connsiteY365" fmla="*/ 63089 h 344988"/>
                <a:gd name="connsiteX366" fmla="*/ 149892 w 344587"/>
                <a:gd name="connsiteY366" fmla="*/ 65832 h 344988"/>
                <a:gd name="connsiteX367" fmla="*/ 149919 w 344587"/>
                <a:gd name="connsiteY367" fmla="*/ 70720 h 344988"/>
                <a:gd name="connsiteX368" fmla="*/ 153798 w 344587"/>
                <a:gd name="connsiteY368" fmla="*/ 67733 h 344988"/>
                <a:gd name="connsiteX369" fmla="*/ 158443 w 344587"/>
                <a:gd name="connsiteY369" fmla="*/ 69227 h 344988"/>
                <a:gd name="connsiteX370" fmla="*/ 156804 w 344587"/>
                <a:gd name="connsiteY370" fmla="*/ 64637 h 344988"/>
                <a:gd name="connsiteX371" fmla="*/ 159672 w 344587"/>
                <a:gd name="connsiteY371" fmla="*/ 60672 h 344988"/>
                <a:gd name="connsiteX372" fmla="*/ 154755 w 344587"/>
                <a:gd name="connsiteY372" fmla="*/ 60835 h 344988"/>
                <a:gd name="connsiteX373" fmla="*/ 172307 w 344587"/>
                <a:gd name="connsiteY373" fmla="*/ 55094 h 344988"/>
                <a:gd name="connsiteX374" fmla="*/ 170121 w 344587"/>
                <a:gd name="connsiteY374" fmla="*/ 59447 h 344988"/>
                <a:gd name="connsiteX375" fmla="*/ 165282 w 344587"/>
                <a:gd name="connsiteY375" fmla="*/ 60150 h 344988"/>
                <a:gd name="connsiteX376" fmla="*/ 168781 w 344587"/>
                <a:gd name="connsiteY376" fmla="*/ 63530 h 344988"/>
                <a:gd name="connsiteX377" fmla="*/ 167961 w 344587"/>
                <a:gd name="connsiteY377" fmla="*/ 68316 h 344988"/>
                <a:gd name="connsiteX378" fmla="*/ 172307 w 344587"/>
                <a:gd name="connsiteY378" fmla="*/ 66045 h 344988"/>
                <a:gd name="connsiteX379" fmla="*/ 176627 w 344587"/>
                <a:gd name="connsiteY379" fmla="*/ 68316 h 344988"/>
                <a:gd name="connsiteX380" fmla="*/ 175806 w 344587"/>
                <a:gd name="connsiteY380" fmla="*/ 63530 h 344988"/>
                <a:gd name="connsiteX381" fmla="*/ 179306 w 344587"/>
                <a:gd name="connsiteY381" fmla="*/ 60150 h 344988"/>
                <a:gd name="connsiteX382" fmla="*/ 174467 w 344587"/>
                <a:gd name="connsiteY382" fmla="*/ 59447 h 344988"/>
                <a:gd name="connsiteX383" fmla="*/ 171615 w 344587"/>
                <a:gd name="connsiteY383" fmla="*/ 48293 h 344988"/>
                <a:gd name="connsiteX384" fmla="*/ 293719 w 344587"/>
                <a:gd name="connsiteY384" fmla="*/ 170398 h 344988"/>
                <a:gd name="connsiteX385" fmla="*/ 171615 w 344587"/>
                <a:gd name="connsiteY385" fmla="*/ 292503 h 344988"/>
                <a:gd name="connsiteX386" fmla="*/ 49510 w 344587"/>
                <a:gd name="connsiteY386" fmla="*/ 170398 h 344988"/>
                <a:gd name="connsiteX387" fmla="*/ 171615 w 344587"/>
                <a:gd name="connsiteY387" fmla="*/ 48293 h 344988"/>
                <a:gd name="connsiteX388" fmla="*/ 171615 w 344587"/>
                <a:gd name="connsiteY388" fmla="*/ 34348 h 344988"/>
                <a:gd name="connsiteX389" fmla="*/ 35565 w 344587"/>
                <a:gd name="connsiteY389" fmla="*/ 170398 h 344988"/>
                <a:gd name="connsiteX390" fmla="*/ 171615 w 344587"/>
                <a:gd name="connsiteY390" fmla="*/ 306448 h 344988"/>
                <a:gd name="connsiteX391" fmla="*/ 307665 w 344587"/>
                <a:gd name="connsiteY391" fmla="*/ 170398 h 344988"/>
                <a:gd name="connsiteX392" fmla="*/ 171615 w 344587"/>
                <a:gd name="connsiteY392" fmla="*/ 34348 h 344988"/>
                <a:gd name="connsiteX393" fmla="*/ 172307 w 344587"/>
                <a:gd name="connsiteY393" fmla="*/ 0 h 344988"/>
                <a:gd name="connsiteX394" fmla="*/ 212700 w 344587"/>
                <a:gd name="connsiteY394" fmla="*/ 21468 h 344988"/>
                <a:gd name="connsiteX395" fmla="*/ 258434 w 344587"/>
                <a:gd name="connsiteY395" fmla="*/ 23124 h 344988"/>
                <a:gd name="connsiteX396" fmla="*/ 282724 w 344587"/>
                <a:gd name="connsiteY396" fmla="*/ 61936 h 344988"/>
                <a:gd name="connsiteX397" fmla="*/ 321490 w 344587"/>
                <a:gd name="connsiteY397" fmla="*/ 86254 h 344988"/>
                <a:gd name="connsiteX398" fmla="*/ 323144 w 344587"/>
                <a:gd name="connsiteY398" fmla="*/ 132040 h 344988"/>
                <a:gd name="connsiteX399" fmla="*/ 344587 w 344587"/>
                <a:gd name="connsiteY399" fmla="*/ 172508 h 344988"/>
                <a:gd name="connsiteX400" fmla="*/ 323144 w 344587"/>
                <a:gd name="connsiteY400" fmla="*/ 212975 h 344988"/>
                <a:gd name="connsiteX401" fmla="*/ 321490 w 344587"/>
                <a:gd name="connsiteY401" fmla="*/ 258734 h 344988"/>
                <a:gd name="connsiteX402" fmla="*/ 282724 w 344587"/>
                <a:gd name="connsiteY402" fmla="*/ 283052 h 344988"/>
                <a:gd name="connsiteX403" fmla="*/ 258434 w 344587"/>
                <a:gd name="connsiteY403" fmla="*/ 321891 h 344988"/>
                <a:gd name="connsiteX404" fmla="*/ 212700 w 344587"/>
                <a:gd name="connsiteY404" fmla="*/ 323520 h 344988"/>
                <a:gd name="connsiteX405" fmla="*/ 172307 w 344587"/>
                <a:gd name="connsiteY405" fmla="*/ 344988 h 344988"/>
                <a:gd name="connsiteX406" fmla="*/ 131887 w 344587"/>
                <a:gd name="connsiteY406" fmla="*/ 323520 h 344988"/>
                <a:gd name="connsiteX407" fmla="*/ 86154 w 344587"/>
                <a:gd name="connsiteY407" fmla="*/ 321891 h 344988"/>
                <a:gd name="connsiteX408" fmla="*/ 61864 w 344587"/>
                <a:gd name="connsiteY408" fmla="*/ 283052 h 344988"/>
                <a:gd name="connsiteX409" fmla="*/ 23097 w 344587"/>
                <a:gd name="connsiteY409" fmla="*/ 258734 h 344988"/>
                <a:gd name="connsiteX410" fmla="*/ 21444 w 344587"/>
                <a:gd name="connsiteY410" fmla="*/ 212975 h 344988"/>
                <a:gd name="connsiteX411" fmla="*/ 0 w 344587"/>
                <a:gd name="connsiteY411" fmla="*/ 172508 h 344988"/>
                <a:gd name="connsiteX412" fmla="*/ 21444 w 344587"/>
                <a:gd name="connsiteY412" fmla="*/ 132040 h 344988"/>
                <a:gd name="connsiteX413" fmla="*/ 23097 w 344587"/>
                <a:gd name="connsiteY413" fmla="*/ 86254 h 344988"/>
                <a:gd name="connsiteX414" fmla="*/ 61864 w 344587"/>
                <a:gd name="connsiteY414" fmla="*/ 61936 h 344988"/>
                <a:gd name="connsiteX415" fmla="*/ 86154 w 344587"/>
                <a:gd name="connsiteY415" fmla="*/ 23124 h 344988"/>
                <a:gd name="connsiteX416" fmla="*/ 131887 w 344587"/>
                <a:gd name="connsiteY416" fmla="*/ 21468 h 344988"/>
                <a:gd name="connsiteX417" fmla="*/ 172307 w 344587"/>
                <a:gd name="connsiteY417" fmla="*/ 0 h 3449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</a:cxnLst>
              <a:rect l="l" t="t" r="r" b="b"/>
              <a:pathLst>
                <a:path w="344587" h="344988">
                  <a:moveTo>
                    <a:pt x="167961" y="276672"/>
                  </a:moveTo>
                  <a:lnTo>
                    <a:pt x="168781" y="281441"/>
                  </a:lnTo>
                  <a:lnTo>
                    <a:pt x="165282" y="284827"/>
                  </a:lnTo>
                  <a:lnTo>
                    <a:pt x="170121" y="285532"/>
                  </a:lnTo>
                  <a:lnTo>
                    <a:pt x="172307" y="289894"/>
                  </a:lnTo>
                  <a:lnTo>
                    <a:pt x="174467" y="285532"/>
                  </a:lnTo>
                  <a:lnTo>
                    <a:pt x="179306" y="284827"/>
                  </a:lnTo>
                  <a:lnTo>
                    <a:pt x="175806" y="281441"/>
                  </a:lnTo>
                  <a:lnTo>
                    <a:pt x="176627" y="276672"/>
                  </a:lnTo>
                  <a:lnTo>
                    <a:pt x="172307" y="278921"/>
                  </a:lnTo>
                  <a:close/>
                  <a:moveTo>
                    <a:pt x="194527" y="274468"/>
                  </a:moveTo>
                  <a:lnTo>
                    <a:pt x="190704" y="277391"/>
                  </a:lnTo>
                  <a:lnTo>
                    <a:pt x="186127" y="275943"/>
                  </a:lnTo>
                  <a:lnTo>
                    <a:pt x="187742" y="280475"/>
                  </a:lnTo>
                  <a:lnTo>
                    <a:pt x="184915" y="284363"/>
                  </a:lnTo>
                  <a:lnTo>
                    <a:pt x="189761" y="284229"/>
                  </a:lnTo>
                  <a:lnTo>
                    <a:pt x="192615" y="288091"/>
                  </a:lnTo>
                  <a:lnTo>
                    <a:pt x="193961" y="283479"/>
                  </a:lnTo>
                  <a:lnTo>
                    <a:pt x="198538" y="281977"/>
                  </a:lnTo>
                  <a:lnTo>
                    <a:pt x="194554" y="279268"/>
                  </a:lnTo>
                  <a:close/>
                  <a:moveTo>
                    <a:pt x="149919" y="274468"/>
                  </a:moveTo>
                  <a:lnTo>
                    <a:pt x="149892" y="279268"/>
                  </a:lnTo>
                  <a:lnTo>
                    <a:pt x="145849" y="281977"/>
                  </a:lnTo>
                  <a:lnTo>
                    <a:pt x="150493" y="283479"/>
                  </a:lnTo>
                  <a:lnTo>
                    <a:pt x="151859" y="288091"/>
                  </a:lnTo>
                  <a:lnTo>
                    <a:pt x="154755" y="284229"/>
                  </a:lnTo>
                  <a:lnTo>
                    <a:pt x="159672" y="284363"/>
                  </a:lnTo>
                  <a:lnTo>
                    <a:pt x="156804" y="280475"/>
                  </a:lnTo>
                  <a:lnTo>
                    <a:pt x="158443" y="275943"/>
                  </a:lnTo>
                  <a:lnTo>
                    <a:pt x="153798" y="277391"/>
                  </a:lnTo>
                  <a:close/>
                  <a:moveTo>
                    <a:pt x="211844" y="268858"/>
                  </a:moveTo>
                  <a:lnTo>
                    <a:pt x="208584" y="272467"/>
                  </a:lnTo>
                  <a:lnTo>
                    <a:pt x="203747" y="271811"/>
                  </a:lnTo>
                  <a:lnTo>
                    <a:pt x="206165" y="276075"/>
                  </a:lnTo>
                  <a:lnTo>
                    <a:pt x="204046" y="280504"/>
                  </a:lnTo>
                  <a:lnTo>
                    <a:pt x="208828" y="279492"/>
                  </a:lnTo>
                  <a:lnTo>
                    <a:pt x="212334" y="282882"/>
                  </a:lnTo>
                  <a:lnTo>
                    <a:pt x="212877" y="278016"/>
                  </a:lnTo>
                  <a:lnTo>
                    <a:pt x="217170" y="275693"/>
                  </a:lnTo>
                  <a:lnTo>
                    <a:pt x="212714" y="273670"/>
                  </a:lnTo>
                  <a:close/>
                  <a:moveTo>
                    <a:pt x="132663" y="268858"/>
                  </a:moveTo>
                  <a:lnTo>
                    <a:pt x="131807" y="273670"/>
                  </a:lnTo>
                  <a:lnTo>
                    <a:pt x="127417" y="275693"/>
                  </a:lnTo>
                  <a:lnTo>
                    <a:pt x="131646" y="278016"/>
                  </a:lnTo>
                  <a:lnTo>
                    <a:pt x="132182" y="282882"/>
                  </a:lnTo>
                  <a:lnTo>
                    <a:pt x="135635" y="279492"/>
                  </a:lnTo>
                  <a:lnTo>
                    <a:pt x="140345" y="280504"/>
                  </a:lnTo>
                  <a:lnTo>
                    <a:pt x="138258" y="276075"/>
                  </a:lnTo>
                  <a:lnTo>
                    <a:pt x="140640" y="271811"/>
                  </a:lnTo>
                  <a:lnTo>
                    <a:pt x="135875" y="272467"/>
                  </a:lnTo>
                  <a:close/>
                  <a:moveTo>
                    <a:pt x="228015" y="260644"/>
                  </a:moveTo>
                  <a:lnTo>
                    <a:pt x="225418" y="264769"/>
                  </a:lnTo>
                  <a:lnTo>
                    <a:pt x="220576" y="264959"/>
                  </a:lnTo>
                  <a:lnTo>
                    <a:pt x="223687" y="268704"/>
                  </a:lnTo>
                  <a:lnTo>
                    <a:pt x="222361" y="273372"/>
                  </a:lnTo>
                  <a:lnTo>
                    <a:pt x="226879" y="271581"/>
                  </a:lnTo>
                  <a:lnTo>
                    <a:pt x="230910" y="274268"/>
                  </a:lnTo>
                  <a:lnTo>
                    <a:pt x="230585" y="269410"/>
                  </a:lnTo>
                  <a:lnTo>
                    <a:pt x="234399" y="266398"/>
                  </a:lnTo>
                  <a:lnTo>
                    <a:pt x="229692" y="265204"/>
                  </a:lnTo>
                  <a:close/>
                  <a:moveTo>
                    <a:pt x="116572" y="260644"/>
                  </a:moveTo>
                  <a:lnTo>
                    <a:pt x="114895" y="265204"/>
                  </a:lnTo>
                  <a:lnTo>
                    <a:pt x="110188" y="266398"/>
                  </a:lnTo>
                  <a:lnTo>
                    <a:pt x="114002" y="269410"/>
                  </a:lnTo>
                  <a:lnTo>
                    <a:pt x="113678" y="274268"/>
                  </a:lnTo>
                  <a:lnTo>
                    <a:pt x="117708" y="271581"/>
                  </a:lnTo>
                  <a:lnTo>
                    <a:pt x="122226" y="273372"/>
                  </a:lnTo>
                  <a:lnTo>
                    <a:pt x="120900" y="268704"/>
                  </a:lnTo>
                  <a:lnTo>
                    <a:pt x="124011" y="264959"/>
                  </a:lnTo>
                  <a:lnTo>
                    <a:pt x="119169" y="264769"/>
                  </a:lnTo>
                  <a:close/>
                  <a:moveTo>
                    <a:pt x="242363" y="249625"/>
                  </a:moveTo>
                  <a:lnTo>
                    <a:pt x="240527" y="254100"/>
                  </a:lnTo>
                  <a:lnTo>
                    <a:pt x="235802" y="255124"/>
                  </a:lnTo>
                  <a:lnTo>
                    <a:pt x="239501" y="258251"/>
                  </a:lnTo>
                  <a:lnTo>
                    <a:pt x="239015" y="263048"/>
                  </a:lnTo>
                  <a:lnTo>
                    <a:pt x="243119" y="260515"/>
                  </a:lnTo>
                  <a:lnTo>
                    <a:pt x="247546" y="262455"/>
                  </a:lnTo>
                  <a:lnTo>
                    <a:pt x="246413" y="257766"/>
                  </a:lnTo>
                  <a:lnTo>
                    <a:pt x="249625" y="254154"/>
                  </a:lnTo>
                  <a:lnTo>
                    <a:pt x="244792" y="253776"/>
                  </a:lnTo>
                  <a:close/>
                  <a:moveTo>
                    <a:pt x="102024" y="249625"/>
                  </a:moveTo>
                  <a:lnTo>
                    <a:pt x="99594" y="253776"/>
                  </a:lnTo>
                  <a:lnTo>
                    <a:pt x="94762" y="254154"/>
                  </a:lnTo>
                  <a:lnTo>
                    <a:pt x="97975" y="257766"/>
                  </a:lnTo>
                  <a:lnTo>
                    <a:pt x="96841" y="262455"/>
                  </a:lnTo>
                  <a:lnTo>
                    <a:pt x="101268" y="260515"/>
                  </a:lnTo>
                  <a:lnTo>
                    <a:pt x="105372" y="263048"/>
                  </a:lnTo>
                  <a:lnTo>
                    <a:pt x="104886" y="258251"/>
                  </a:lnTo>
                  <a:lnTo>
                    <a:pt x="108585" y="255124"/>
                  </a:lnTo>
                  <a:lnTo>
                    <a:pt x="103860" y="254100"/>
                  </a:lnTo>
                  <a:close/>
                  <a:moveTo>
                    <a:pt x="254712" y="236203"/>
                  </a:moveTo>
                  <a:lnTo>
                    <a:pt x="253690" y="240928"/>
                  </a:lnTo>
                  <a:lnTo>
                    <a:pt x="249225" y="242764"/>
                  </a:lnTo>
                  <a:lnTo>
                    <a:pt x="253394" y="245220"/>
                  </a:lnTo>
                  <a:lnTo>
                    <a:pt x="253771" y="250026"/>
                  </a:lnTo>
                  <a:lnTo>
                    <a:pt x="257348" y="246813"/>
                  </a:lnTo>
                  <a:lnTo>
                    <a:pt x="262056" y="247974"/>
                  </a:lnTo>
                  <a:lnTo>
                    <a:pt x="260119" y="243520"/>
                  </a:lnTo>
                  <a:lnTo>
                    <a:pt x="262648" y="239416"/>
                  </a:lnTo>
                  <a:lnTo>
                    <a:pt x="257833" y="239902"/>
                  </a:lnTo>
                  <a:close/>
                  <a:moveTo>
                    <a:pt x="89793" y="236203"/>
                  </a:moveTo>
                  <a:lnTo>
                    <a:pt x="86626" y="239902"/>
                  </a:lnTo>
                  <a:lnTo>
                    <a:pt x="81739" y="239416"/>
                  </a:lnTo>
                  <a:lnTo>
                    <a:pt x="84333" y="243520"/>
                  </a:lnTo>
                  <a:lnTo>
                    <a:pt x="82340" y="247974"/>
                  </a:lnTo>
                  <a:lnTo>
                    <a:pt x="87118" y="246813"/>
                  </a:lnTo>
                  <a:lnTo>
                    <a:pt x="90749" y="250026"/>
                  </a:lnTo>
                  <a:lnTo>
                    <a:pt x="91131" y="245220"/>
                  </a:lnTo>
                  <a:lnTo>
                    <a:pt x="95363" y="242764"/>
                  </a:lnTo>
                  <a:lnTo>
                    <a:pt x="90831" y="240928"/>
                  </a:lnTo>
                  <a:close/>
                  <a:moveTo>
                    <a:pt x="264558" y="220977"/>
                  </a:moveTo>
                  <a:lnTo>
                    <a:pt x="264341" y="225819"/>
                  </a:lnTo>
                  <a:lnTo>
                    <a:pt x="260243" y="228416"/>
                  </a:lnTo>
                  <a:lnTo>
                    <a:pt x="264803" y="230093"/>
                  </a:lnTo>
                  <a:lnTo>
                    <a:pt x="265997" y="234800"/>
                  </a:lnTo>
                  <a:lnTo>
                    <a:pt x="269009" y="230986"/>
                  </a:lnTo>
                  <a:lnTo>
                    <a:pt x="273867" y="231311"/>
                  </a:lnTo>
                  <a:lnTo>
                    <a:pt x="271180" y="227280"/>
                  </a:lnTo>
                  <a:lnTo>
                    <a:pt x="272971" y="222762"/>
                  </a:lnTo>
                  <a:lnTo>
                    <a:pt x="268276" y="224088"/>
                  </a:lnTo>
                  <a:close/>
                  <a:moveTo>
                    <a:pt x="80029" y="220977"/>
                  </a:moveTo>
                  <a:lnTo>
                    <a:pt x="76311" y="224088"/>
                  </a:lnTo>
                  <a:lnTo>
                    <a:pt x="71616" y="222762"/>
                  </a:lnTo>
                  <a:lnTo>
                    <a:pt x="73407" y="227280"/>
                  </a:lnTo>
                  <a:lnTo>
                    <a:pt x="70721" y="231311"/>
                  </a:lnTo>
                  <a:lnTo>
                    <a:pt x="75578" y="230986"/>
                  </a:lnTo>
                  <a:lnTo>
                    <a:pt x="78590" y="234800"/>
                  </a:lnTo>
                  <a:lnTo>
                    <a:pt x="79785" y="230093"/>
                  </a:lnTo>
                  <a:lnTo>
                    <a:pt x="84344" y="228416"/>
                  </a:lnTo>
                  <a:lnTo>
                    <a:pt x="80246" y="225819"/>
                  </a:lnTo>
                  <a:close/>
                  <a:moveTo>
                    <a:pt x="271410" y="204148"/>
                  </a:moveTo>
                  <a:lnTo>
                    <a:pt x="272066" y="208985"/>
                  </a:lnTo>
                  <a:lnTo>
                    <a:pt x="268457" y="212245"/>
                  </a:lnTo>
                  <a:lnTo>
                    <a:pt x="273269" y="213115"/>
                  </a:lnTo>
                  <a:lnTo>
                    <a:pt x="275292" y="217571"/>
                  </a:lnTo>
                  <a:lnTo>
                    <a:pt x="277615" y="213278"/>
                  </a:lnTo>
                  <a:lnTo>
                    <a:pt x="282481" y="212734"/>
                  </a:lnTo>
                  <a:lnTo>
                    <a:pt x="279091" y="209229"/>
                  </a:lnTo>
                  <a:lnTo>
                    <a:pt x="280076" y="204447"/>
                  </a:lnTo>
                  <a:lnTo>
                    <a:pt x="275674" y="206566"/>
                  </a:lnTo>
                  <a:close/>
                  <a:moveTo>
                    <a:pt x="73019" y="204148"/>
                  </a:moveTo>
                  <a:lnTo>
                    <a:pt x="68816" y="206566"/>
                  </a:lnTo>
                  <a:lnTo>
                    <a:pt x="64477" y="204447"/>
                  </a:lnTo>
                  <a:lnTo>
                    <a:pt x="65447" y="209229"/>
                  </a:lnTo>
                  <a:lnTo>
                    <a:pt x="62106" y="212734"/>
                  </a:lnTo>
                  <a:lnTo>
                    <a:pt x="66903" y="213278"/>
                  </a:lnTo>
                  <a:lnTo>
                    <a:pt x="69193" y="217571"/>
                  </a:lnTo>
                  <a:lnTo>
                    <a:pt x="71187" y="213115"/>
                  </a:lnTo>
                  <a:lnTo>
                    <a:pt x="75929" y="212245"/>
                  </a:lnTo>
                  <a:lnTo>
                    <a:pt x="72373" y="208985"/>
                  </a:lnTo>
                  <a:close/>
                  <a:moveTo>
                    <a:pt x="283915" y="185116"/>
                  </a:moveTo>
                  <a:lnTo>
                    <a:pt x="279950" y="187963"/>
                  </a:lnTo>
                  <a:lnTo>
                    <a:pt x="275388" y="186320"/>
                  </a:lnTo>
                  <a:lnTo>
                    <a:pt x="276854" y="191001"/>
                  </a:lnTo>
                  <a:lnTo>
                    <a:pt x="273867" y="194861"/>
                  </a:lnTo>
                  <a:lnTo>
                    <a:pt x="278755" y="194888"/>
                  </a:lnTo>
                  <a:lnTo>
                    <a:pt x="281498" y="198939"/>
                  </a:lnTo>
                  <a:lnTo>
                    <a:pt x="283019" y="194286"/>
                  </a:lnTo>
                  <a:lnTo>
                    <a:pt x="287690" y="192917"/>
                  </a:lnTo>
                  <a:lnTo>
                    <a:pt x="283780" y="190015"/>
                  </a:lnTo>
                  <a:close/>
                  <a:moveTo>
                    <a:pt x="60472" y="185116"/>
                  </a:moveTo>
                  <a:lnTo>
                    <a:pt x="60608" y="190015"/>
                  </a:lnTo>
                  <a:lnTo>
                    <a:pt x="56697" y="192917"/>
                  </a:lnTo>
                  <a:lnTo>
                    <a:pt x="61368" y="194286"/>
                  </a:lnTo>
                  <a:lnTo>
                    <a:pt x="62889" y="198939"/>
                  </a:lnTo>
                  <a:lnTo>
                    <a:pt x="65632" y="194888"/>
                  </a:lnTo>
                  <a:lnTo>
                    <a:pt x="70520" y="194861"/>
                  </a:lnTo>
                  <a:lnTo>
                    <a:pt x="67533" y="191001"/>
                  </a:lnTo>
                  <a:lnTo>
                    <a:pt x="68999" y="186320"/>
                  </a:lnTo>
                  <a:lnTo>
                    <a:pt x="64437" y="187963"/>
                  </a:lnTo>
                  <a:close/>
                  <a:moveTo>
                    <a:pt x="284437" y="165482"/>
                  </a:moveTo>
                  <a:lnTo>
                    <a:pt x="281057" y="168981"/>
                  </a:lnTo>
                  <a:lnTo>
                    <a:pt x="276271" y="168161"/>
                  </a:lnTo>
                  <a:lnTo>
                    <a:pt x="278542" y="172508"/>
                  </a:lnTo>
                  <a:lnTo>
                    <a:pt x="276271" y="176827"/>
                  </a:lnTo>
                  <a:lnTo>
                    <a:pt x="281057" y="176007"/>
                  </a:lnTo>
                  <a:lnTo>
                    <a:pt x="284437" y="179506"/>
                  </a:lnTo>
                  <a:lnTo>
                    <a:pt x="285140" y="174667"/>
                  </a:lnTo>
                  <a:lnTo>
                    <a:pt x="289493" y="172508"/>
                  </a:lnTo>
                  <a:lnTo>
                    <a:pt x="285140" y="170321"/>
                  </a:lnTo>
                  <a:close/>
                  <a:moveTo>
                    <a:pt x="60027" y="165482"/>
                  </a:moveTo>
                  <a:lnTo>
                    <a:pt x="59313" y="170321"/>
                  </a:lnTo>
                  <a:lnTo>
                    <a:pt x="54894" y="172508"/>
                  </a:lnTo>
                  <a:lnTo>
                    <a:pt x="59313" y="174667"/>
                  </a:lnTo>
                  <a:lnTo>
                    <a:pt x="60027" y="179506"/>
                  </a:lnTo>
                  <a:lnTo>
                    <a:pt x="63458" y="176007"/>
                  </a:lnTo>
                  <a:lnTo>
                    <a:pt x="68317" y="176827"/>
                  </a:lnTo>
                  <a:lnTo>
                    <a:pt x="66011" y="172508"/>
                  </a:lnTo>
                  <a:lnTo>
                    <a:pt x="68317" y="168161"/>
                  </a:lnTo>
                  <a:lnTo>
                    <a:pt x="63458" y="168981"/>
                  </a:lnTo>
                  <a:close/>
                  <a:moveTo>
                    <a:pt x="281498" y="146049"/>
                  </a:moveTo>
                  <a:lnTo>
                    <a:pt x="278755" y="150092"/>
                  </a:lnTo>
                  <a:lnTo>
                    <a:pt x="273867" y="150120"/>
                  </a:lnTo>
                  <a:lnTo>
                    <a:pt x="276854" y="153999"/>
                  </a:lnTo>
                  <a:lnTo>
                    <a:pt x="275388" y="158670"/>
                  </a:lnTo>
                  <a:lnTo>
                    <a:pt x="279950" y="157004"/>
                  </a:lnTo>
                  <a:lnTo>
                    <a:pt x="283915" y="159872"/>
                  </a:lnTo>
                  <a:lnTo>
                    <a:pt x="283780" y="154955"/>
                  </a:lnTo>
                  <a:lnTo>
                    <a:pt x="287690" y="152059"/>
                  </a:lnTo>
                  <a:lnTo>
                    <a:pt x="283019" y="150693"/>
                  </a:lnTo>
                  <a:close/>
                  <a:moveTo>
                    <a:pt x="62889" y="146049"/>
                  </a:moveTo>
                  <a:lnTo>
                    <a:pt x="61368" y="150693"/>
                  </a:lnTo>
                  <a:lnTo>
                    <a:pt x="56697" y="152059"/>
                  </a:lnTo>
                  <a:lnTo>
                    <a:pt x="60608" y="154955"/>
                  </a:lnTo>
                  <a:lnTo>
                    <a:pt x="60472" y="159872"/>
                  </a:lnTo>
                  <a:lnTo>
                    <a:pt x="64437" y="157004"/>
                  </a:lnTo>
                  <a:lnTo>
                    <a:pt x="68999" y="158670"/>
                  </a:lnTo>
                  <a:lnTo>
                    <a:pt x="67533" y="153999"/>
                  </a:lnTo>
                  <a:lnTo>
                    <a:pt x="70520" y="150120"/>
                  </a:lnTo>
                  <a:lnTo>
                    <a:pt x="65632" y="150092"/>
                  </a:lnTo>
                  <a:close/>
                  <a:moveTo>
                    <a:pt x="275292" y="127618"/>
                  </a:moveTo>
                  <a:lnTo>
                    <a:pt x="273269" y="132007"/>
                  </a:lnTo>
                  <a:lnTo>
                    <a:pt x="268457" y="132864"/>
                  </a:lnTo>
                  <a:lnTo>
                    <a:pt x="272066" y="136103"/>
                  </a:lnTo>
                  <a:lnTo>
                    <a:pt x="271410" y="140840"/>
                  </a:lnTo>
                  <a:lnTo>
                    <a:pt x="275674" y="138458"/>
                  </a:lnTo>
                  <a:lnTo>
                    <a:pt x="280076" y="140546"/>
                  </a:lnTo>
                  <a:lnTo>
                    <a:pt x="279091" y="135862"/>
                  </a:lnTo>
                  <a:lnTo>
                    <a:pt x="282481" y="132382"/>
                  </a:lnTo>
                  <a:lnTo>
                    <a:pt x="277615" y="131847"/>
                  </a:lnTo>
                  <a:close/>
                  <a:moveTo>
                    <a:pt x="69193" y="127618"/>
                  </a:moveTo>
                  <a:lnTo>
                    <a:pt x="66903" y="131847"/>
                  </a:lnTo>
                  <a:lnTo>
                    <a:pt x="62106" y="132382"/>
                  </a:lnTo>
                  <a:lnTo>
                    <a:pt x="65447" y="135862"/>
                  </a:lnTo>
                  <a:lnTo>
                    <a:pt x="64477" y="140546"/>
                  </a:lnTo>
                  <a:lnTo>
                    <a:pt x="68816" y="138458"/>
                  </a:lnTo>
                  <a:lnTo>
                    <a:pt x="73019" y="140840"/>
                  </a:lnTo>
                  <a:lnTo>
                    <a:pt x="72373" y="136103"/>
                  </a:lnTo>
                  <a:lnTo>
                    <a:pt x="75929" y="132864"/>
                  </a:lnTo>
                  <a:lnTo>
                    <a:pt x="71187" y="132007"/>
                  </a:lnTo>
                  <a:close/>
                  <a:moveTo>
                    <a:pt x="265997" y="110188"/>
                  </a:moveTo>
                  <a:lnTo>
                    <a:pt x="264803" y="114963"/>
                  </a:lnTo>
                  <a:lnTo>
                    <a:pt x="260243" y="116665"/>
                  </a:lnTo>
                  <a:lnTo>
                    <a:pt x="264341" y="119299"/>
                  </a:lnTo>
                  <a:lnTo>
                    <a:pt x="264558" y="124212"/>
                  </a:lnTo>
                  <a:lnTo>
                    <a:pt x="268276" y="121083"/>
                  </a:lnTo>
                  <a:lnTo>
                    <a:pt x="272971" y="122401"/>
                  </a:lnTo>
                  <a:lnTo>
                    <a:pt x="271180" y="117845"/>
                  </a:lnTo>
                  <a:lnTo>
                    <a:pt x="273867" y="113756"/>
                  </a:lnTo>
                  <a:lnTo>
                    <a:pt x="269009" y="114057"/>
                  </a:lnTo>
                  <a:close/>
                  <a:moveTo>
                    <a:pt x="78590" y="110188"/>
                  </a:moveTo>
                  <a:lnTo>
                    <a:pt x="75578" y="114057"/>
                  </a:lnTo>
                  <a:lnTo>
                    <a:pt x="70721" y="113756"/>
                  </a:lnTo>
                  <a:lnTo>
                    <a:pt x="73407" y="117845"/>
                  </a:lnTo>
                  <a:lnTo>
                    <a:pt x="71616" y="122401"/>
                  </a:lnTo>
                  <a:lnTo>
                    <a:pt x="76311" y="121083"/>
                  </a:lnTo>
                  <a:lnTo>
                    <a:pt x="80029" y="124212"/>
                  </a:lnTo>
                  <a:lnTo>
                    <a:pt x="80246" y="119299"/>
                  </a:lnTo>
                  <a:lnTo>
                    <a:pt x="84344" y="116665"/>
                  </a:lnTo>
                  <a:lnTo>
                    <a:pt x="79785" y="114963"/>
                  </a:lnTo>
                  <a:close/>
                  <a:moveTo>
                    <a:pt x="172293" y="107507"/>
                  </a:moveTo>
                  <a:cubicBezTo>
                    <a:pt x="169195" y="107507"/>
                    <a:pt x="166097" y="109253"/>
                    <a:pt x="164742" y="112163"/>
                  </a:cubicBezTo>
                  <a:lnTo>
                    <a:pt x="148477" y="145335"/>
                  </a:lnTo>
                  <a:lnTo>
                    <a:pt x="111881" y="150766"/>
                  </a:lnTo>
                  <a:cubicBezTo>
                    <a:pt x="108589" y="151154"/>
                    <a:pt x="106072" y="153482"/>
                    <a:pt x="104910" y="156392"/>
                  </a:cubicBezTo>
                  <a:cubicBezTo>
                    <a:pt x="103942" y="159496"/>
                    <a:pt x="104910" y="162988"/>
                    <a:pt x="107234" y="165121"/>
                  </a:cubicBezTo>
                  <a:lnTo>
                    <a:pt x="133567" y="190922"/>
                  </a:lnTo>
                  <a:lnTo>
                    <a:pt x="127371" y="227392"/>
                  </a:lnTo>
                  <a:cubicBezTo>
                    <a:pt x="126790" y="230689"/>
                    <a:pt x="128146" y="233987"/>
                    <a:pt x="130663" y="235733"/>
                  </a:cubicBezTo>
                  <a:cubicBezTo>
                    <a:pt x="132212" y="236897"/>
                    <a:pt x="133955" y="237479"/>
                    <a:pt x="135697" y="237479"/>
                  </a:cubicBezTo>
                  <a:cubicBezTo>
                    <a:pt x="137053" y="237479"/>
                    <a:pt x="138408" y="237091"/>
                    <a:pt x="139570" y="236509"/>
                  </a:cubicBezTo>
                  <a:lnTo>
                    <a:pt x="172293" y="219244"/>
                  </a:lnTo>
                  <a:lnTo>
                    <a:pt x="205016" y="236509"/>
                  </a:lnTo>
                  <a:cubicBezTo>
                    <a:pt x="206372" y="237091"/>
                    <a:pt x="207727" y="237479"/>
                    <a:pt x="209083" y="237479"/>
                  </a:cubicBezTo>
                  <a:cubicBezTo>
                    <a:pt x="210825" y="237479"/>
                    <a:pt x="212568" y="236897"/>
                    <a:pt x="213923" y="235733"/>
                  </a:cubicBezTo>
                  <a:cubicBezTo>
                    <a:pt x="216634" y="233987"/>
                    <a:pt x="217990" y="230689"/>
                    <a:pt x="217409" y="227392"/>
                  </a:cubicBezTo>
                  <a:lnTo>
                    <a:pt x="211213" y="190922"/>
                  </a:lnTo>
                  <a:lnTo>
                    <a:pt x="237546" y="165121"/>
                  </a:lnTo>
                  <a:cubicBezTo>
                    <a:pt x="239870" y="162988"/>
                    <a:pt x="240644" y="159496"/>
                    <a:pt x="239676" y="156392"/>
                  </a:cubicBezTo>
                  <a:cubicBezTo>
                    <a:pt x="238708" y="153482"/>
                    <a:pt x="235997" y="151154"/>
                    <a:pt x="232899" y="150766"/>
                  </a:cubicBezTo>
                  <a:lnTo>
                    <a:pt x="196303" y="145335"/>
                  </a:lnTo>
                  <a:lnTo>
                    <a:pt x="180038" y="112163"/>
                  </a:lnTo>
                  <a:cubicBezTo>
                    <a:pt x="178489" y="109253"/>
                    <a:pt x="175585" y="107507"/>
                    <a:pt x="172293" y="107507"/>
                  </a:cubicBezTo>
                  <a:close/>
                  <a:moveTo>
                    <a:pt x="253771" y="94962"/>
                  </a:moveTo>
                  <a:lnTo>
                    <a:pt x="253394" y="99795"/>
                  </a:lnTo>
                  <a:lnTo>
                    <a:pt x="249225" y="102225"/>
                  </a:lnTo>
                  <a:lnTo>
                    <a:pt x="253690" y="104061"/>
                  </a:lnTo>
                  <a:lnTo>
                    <a:pt x="254712" y="108785"/>
                  </a:lnTo>
                  <a:lnTo>
                    <a:pt x="257833" y="105114"/>
                  </a:lnTo>
                  <a:lnTo>
                    <a:pt x="262648" y="105573"/>
                  </a:lnTo>
                  <a:lnTo>
                    <a:pt x="260119" y="101469"/>
                  </a:lnTo>
                  <a:lnTo>
                    <a:pt x="262056" y="97041"/>
                  </a:lnTo>
                  <a:lnTo>
                    <a:pt x="257348" y="98175"/>
                  </a:lnTo>
                  <a:close/>
                  <a:moveTo>
                    <a:pt x="90749" y="94962"/>
                  </a:moveTo>
                  <a:lnTo>
                    <a:pt x="87118" y="98175"/>
                  </a:lnTo>
                  <a:lnTo>
                    <a:pt x="82340" y="97041"/>
                  </a:lnTo>
                  <a:lnTo>
                    <a:pt x="84333" y="101469"/>
                  </a:lnTo>
                  <a:lnTo>
                    <a:pt x="81739" y="105573"/>
                  </a:lnTo>
                  <a:lnTo>
                    <a:pt x="86626" y="105114"/>
                  </a:lnTo>
                  <a:lnTo>
                    <a:pt x="89793" y="108785"/>
                  </a:lnTo>
                  <a:lnTo>
                    <a:pt x="90831" y="104061"/>
                  </a:lnTo>
                  <a:lnTo>
                    <a:pt x="95363" y="102225"/>
                  </a:lnTo>
                  <a:lnTo>
                    <a:pt x="91131" y="99795"/>
                  </a:lnTo>
                  <a:close/>
                  <a:moveTo>
                    <a:pt x="239015" y="81940"/>
                  </a:moveTo>
                  <a:lnTo>
                    <a:pt x="239501" y="86827"/>
                  </a:lnTo>
                  <a:lnTo>
                    <a:pt x="235802" y="89993"/>
                  </a:lnTo>
                  <a:lnTo>
                    <a:pt x="240527" y="91031"/>
                  </a:lnTo>
                  <a:lnTo>
                    <a:pt x="242363" y="95563"/>
                  </a:lnTo>
                  <a:lnTo>
                    <a:pt x="244792" y="91331"/>
                  </a:lnTo>
                  <a:lnTo>
                    <a:pt x="249625" y="90976"/>
                  </a:lnTo>
                  <a:lnTo>
                    <a:pt x="246413" y="87318"/>
                  </a:lnTo>
                  <a:lnTo>
                    <a:pt x="247546" y="82568"/>
                  </a:lnTo>
                  <a:lnTo>
                    <a:pt x="243119" y="84533"/>
                  </a:lnTo>
                  <a:close/>
                  <a:moveTo>
                    <a:pt x="105372" y="81940"/>
                  </a:moveTo>
                  <a:lnTo>
                    <a:pt x="101268" y="84533"/>
                  </a:lnTo>
                  <a:lnTo>
                    <a:pt x="96841" y="82568"/>
                  </a:lnTo>
                  <a:lnTo>
                    <a:pt x="97975" y="87318"/>
                  </a:lnTo>
                  <a:lnTo>
                    <a:pt x="94762" y="90976"/>
                  </a:lnTo>
                  <a:lnTo>
                    <a:pt x="99594" y="91331"/>
                  </a:lnTo>
                  <a:lnTo>
                    <a:pt x="102024" y="95563"/>
                  </a:lnTo>
                  <a:lnTo>
                    <a:pt x="103860" y="91031"/>
                  </a:lnTo>
                  <a:lnTo>
                    <a:pt x="108585" y="89993"/>
                  </a:lnTo>
                  <a:lnTo>
                    <a:pt x="104886" y="86827"/>
                  </a:lnTo>
                  <a:close/>
                  <a:moveTo>
                    <a:pt x="230910" y="70720"/>
                  </a:moveTo>
                  <a:lnTo>
                    <a:pt x="226879" y="73474"/>
                  </a:lnTo>
                  <a:lnTo>
                    <a:pt x="222361" y="71629"/>
                  </a:lnTo>
                  <a:lnTo>
                    <a:pt x="223687" y="76393"/>
                  </a:lnTo>
                  <a:lnTo>
                    <a:pt x="220576" y="80193"/>
                  </a:lnTo>
                  <a:lnTo>
                    <a:pt x="225418" y="80386"/>
                  </a:lnTo>
                  <a:lnTo>
                    <a:pt x="228015" y="84544"/>
                  </a:lnTo>
                  <a:lnTo>
                    <a:pt x="229692" y="79918"/>
                  </a:lnTo>
                  <a:lnTo>
                    <a:pt x="234399" y="78706"/>
                  </a:lnTo>
                  <a:lnTo>
                    <a:pt x="230585" y="75650"/>
                  </a:lnTo>
                  <a:close/>
                  <a:moveTo>
                    <a:pt x="113678" y="70720"/>
                  </a:moveTo>
                  <a:lnTo>
                    <a:pt x="114002" y="75650"/>
                  </a:lnTo>
                  <a:lnTo>
                    <a:pt x="110188" y="78706"/>
                  </a:lnTo>
                  <a:lnTo>
                    <a:pt x="114895" y="79918"/>
                  </a:lnTo>
                  <a:lnTo>
                    <a:pt x="116572" y="84544"/>
                  </a:lnTo>
                  <a:lnTo>
                    <a:pt x="119169" y="80386"/>
                  </a:lnTo>
                  <a:lnTo>
                    <a:pt x="124011" y="80193"/>
                  </a:lnTo>
                  <a:lnTo>
                    <a:pt x="120900" y="76393"/>
                  </a:lnTo>
                  <a:lnTo>
                    <a:pt x="122226" y="71629"/>
                  </a:lnTo>
                  <a:lnTo>
                    <a:pt x="117708" y="73474"/>
                  </a:lnTo>
                  <a:close/>
                  <a:moveTo>
                    <a:pt x="212334" y="62106"/>
                  </a:moveTo>
                  <a:lnTo>
                    <a:pt x="208828" y="65489"/>
                  </a:lnTo>
                  <a:lnTo>
                    <a:pt x="204046" y="64507"/>
                  </a:lnTo>
                  <a:lnTo>
                    <a:pt x="206165" y="68900"/>
                  </a:lnTo>
                  <a:lnTo>
                    <a:pt x="203747" y="73156"/>
                  </a:lnTo>
                  <a:lnTo>
                    <a:pt x="208584" y="72501"/>
                  </a:lnTo>
                  <a:lnTo>
                    <a:pt x="211844" y="76130"/>
                  </a:lnTo>
                  <a:lnTo>
                    <a:pt x="212714" y="71301"/>
                  </a:lnTo>
                  <a:lnTo>
                    <a:pt x="217170" y="69282"/>
                  </a:lnTo>
                  <a:lnTo>
                    <a:pt x="212877" y="66962"/>
                  </a:lnTo>
                  <a:close/>
                  <a:moveTo>
                    <a:pt x="132182" y="62106"/>
                  </a:moveTo>
                  <a:lnTo>
                    <a:pt x="131646" y="66962"/>
                  </a:lnTo>
                  <a:lnTo>
                    <a:pt x="127417" y="69282"/>
                  </a:lnTo>
                  <a:lnTo>
                    <a:pt x="131807" y="71301"/>
                  </a:lnTo>
                  <a:lnTo>
                    <a:pt x="132663" y="76130"/>
                  </a:lnTo>
                  <a:lnTo>
                    <a:pt x="135875" y="72501"/>
                  </a:lnTo>
                  <a:lnTo>
                    <a:pt x="140640" y="73156"/>
                  </a:lnTo>
                  <a:lnTo>
                    <a:pt x="138258" y="68900"/>
                  </a:lnTo>
                  <a:lnTo>
                    <a:pt x="140345" y="64507"/>
                  </a:lnTo>
                  <a:lnTo>
                    <a:pt x="135635" y="65489"/>
                  </a:lnTo>
                  <a:close/>
                  <a:moveTo>
                    <a:pt x="192615" y="56897"/>
                  </a:moveTo>
                  <a:lnTo>
                    <a:pt x="189761" y="60835"/>
                  </a:lnTo>
                  <a:lnTo>
                    <a:pt x="184915" y="60672"/>
                  </a:lnTo>
                  <a:lnTo>
                    <a:pt x="187742" y="64637"/>
                  </a:lnTo>
                  <a:lnTo>
                    <a:pt x="186127" y="69227"/>
                  </a:lnTo>
                  <a:lnTo>
                    <a:pt x="190704" y="67733"/>
                  </a:lnTo>
                  <a:lnTo>
                    <a:pt x="194527" y="70720"/>
                  </a:lnTo>
                  <a:lnTo>
                    <a:pt x="194554" y="65832"/>
                  </a:lnTo>
                  <a:lnTo>
                    <a:pt x="198538" y="63089"/>
                  </a:lnTo>
                  <a:lnTo>
                    <a:pt x="193961" y="61568"/>
                  </a:lnTo>
                  <a:close/>
                  <a:moveTo>
                    <a:pt x="151859" y="56897"/>
                  </a:moveTo>
                  <a:lnTo>
                    <a:pt x="150493" y="61568"/>
                  </a:lnTo>
                  <a:lnTo>
                    <a:pt x="145849" y="63089"/>
                  </a:lnTo>
                  <a:lnTo>
                    <a:pt x="149892" y="65832"/>
                  </a:lnTo>
                  <a:lnTo>
                    <a:pt x="149919" y="70720"/>
                  </a:lnTo>
                  <a:lnTo>
                    <a:pt x="153798" y="67733"/>
                  </a:lnTo>
                  <a:lnTo>
                    <a:pt x="158443" y="69227"/>
                  </a:lnTo>
                  <a:lnTo>
                    <a:pt x="156804" y="64637"/>
                  </a:lnTo>
                  <a:lnTo>
                    <a:pt x="159672" y="60672"/>
                  </a:lnTo>
                  <a:lnTo>
                    <a:pt x="154755" y="60835"/>
                  </a:lnTo>
                  <a:close/>
                  <a:moveTo>
                    <a:pt x="172307" y="55094"/>
                  </a:moveTo>
                  <a:lnTo>
                    <a:pt x="170121" y="59447"/>
                  </a:lnTo>
                  <a:lnTo>
                    <a:pt x="165282" y="60150"/>
                  </a:lnTo>
                  <a:lnTo>
                    <a:pt x="168781" y="63530"/>
                  </a:lnTo>
                  <a:lnTo>
                    <a:pt x="167961" y="68316"/>
                  </a:lnTo>
                  <a:lnTo>
                    <a:pt x="172307" y="66045"/>
                  </a:lnTo>
                  <a:lnTo>
                    <a:pt x="176627" y="68316"/>
                  </a:lnTo>
                  <a:lnTo>
                    <a:pt x="175806" y="63530"/>
                  </a:lnTo>
                  <a:lnTo>
                    <a:pt x="179306" y="60150"/>
                  </a:lnTo>
                  <a:lnTo>
                    <a:pt x="174467" y="59447"/>
                  </a:lnTo>
                  <a:close/>
                  <a:moveTo>
                    <a:pt x="171615" y="48293"/>
                  </a:moveTo>
                  <a:cubicBezTo>
                    <a:pt x="239051" y="48293"/>
                    <a:pt x="293719" y="102961"/>
                    <a:pt x="293719" y="170398"/>
                  </a:cubicBezTo>
                  <a:cubicBezTo>
                    <a:pt x="293719" y="237834"/>
                    <a:pt x="239051" y="292503"/>
                    <a:pt x="171615" y="292503"/>
                  </a:cubicBezTo>
                  <a:cubicBezTo>
                    <a:pt x="104179" y="292503"/>
                    <a:pt x="49510" y="237834"/>
                    <a:pt x="49510" y="170398"/>
                  </a:cubicBezTo>
                  <a:cubicBezTo>
                    <a:pt x="49510" y="102961"/>
                    <a:pt x="104179" y="48293"/>
                    <a:pt x="171615" y="48293"/>
                  </a:cubicBezTo>
                  <a:close/>
                  <a:moveTo>
                    <a:pt x="171615" y="34348"/>
                  </a:moveTo>
                  <a:cubicBezTo>
                    <a:pt x="96477" y="34348"/>
                    <a:pt x="35565" y="95260"/>
                    <a:pt x="35565" y="170398"/>
                  </a:cubicBezTo>
                  <a:cubicBezTo>
                    <a:pt x="35565" y="245536"/>
                    <a:pt x="96477" y="306448"/>
                    <a:pt x="171615" y="306448"/>
                  </a:cubicBezTo>
                  <a:cubicBezTo>
                    <a:pt x="246753" y="306448"/>
                    <a:pt x="307665" y="245536"/>
                    <a:pt x="307665" y="170398"/>
                  </a:cubicBezTo>
                  <a:cubicBezTo>
                    <a:pt x="307665" y="95260"/>
                    <a:pt x="246753" y="34348"/>
                    <a:pt x="171615" y="34348"/>
                  </a:cubicBezTo>
                  <a:close/>
                  <a:moveTo>
                    <a:pt x="172307" y="0"/>
                  </a:moveTo>
                  <a:cubicBezTo>
                    <a:pt x="186784" y="0"/>
                    <a:pt x="198956" y="17777"/>
                    <a:pt x="212700" y="21468"/>
                  </a:cubicBezTo>
                  <a:cubicBezTo>
                    <a:pt x="226580" y="25187"/>
                    <a:pt x="246018" y="15932"/>
                    <a:pt x="258434" y="23124"/>
                  </a:cubicBezTo>
                  <a:cubicBezTo>
                    <a:pt x="270768" y="30235"/>
                    <a:pt x="272476" y="51703"/>
                    <a:pt x="282724" y="61936"/>
                  </a:cubicBezTo>
                  <a:cubicBezTo>
                    <a:pt x="292944" y="72195"/>
                    <a:pt x="314387" y="73905"/>
                    <a:pt x="321490" y="86254"/>
                  </a:cubicBezTo>
                  <a:cubicBezTo>
                    <a:pt x="328674" y="98684"/>
                    <a:pt x="319430" y="118144"/>
                    <a:pt x="323144" y="132040"/>
                  </a:cubicBezTo>
                  <a:cubicBezTo>
                    <a:pt x="326831" y="145801"/>
                    <a:pt x="344587" y="158014"/>
                    <a:pt x="344587" y="172508"/>
                  </a:cubicBezTo>
                  <a:cubicBezTo>
                    <a:pt x="344587" y="187001"/>
                    <a:pt x="326831" y="199214"/>
                    <a:pt x="323144" y="212975"/>
                  </a:cubicBezTo>
                  <a:cubicBezTo>
                    <a:pt x="319430" y="226844"/>
                    <a:pt x="328674" y="246304"/>
                    <a:pt x="321490" y="258734"/>
                  </a:cubicBezTo>
                  <a:cubicBezTo>
                    <a:pt x="314387" y="271083"/>
                    <a:pt x="292944" y="272793"/>
                    <a:pt x="282724" y="283052"/>
                  </a:cubicBezTo>
                  <a:cubicBezTo>
                    <a:pt x="272476" y="293312"/>
                    <a:pt x="270768" y="314753"/>
                    <a:pt x="258434" y="321891"/>
                  </a:cubicBezTo>
                  <a:cubicBezTo>
                    <a:pt x="246018" y="329056"/>
                    <a:pt x="226580" y="319801"/>
                    <a:pt x="212700" y="323520"/>
                  </a:cubicBezTo>
                  <a:cubicBezTo>
                    <a:pt x="198956" y="327211"/>
                    <a:pt x="186784" y="344988"/>
                    <a:pt x="172307" y="344988"/>
                  </a:cubicBezTo>
                  <a:cubicBezTo>
                    <a:pt x="157804" y="344988"/>
                    <a:pt x="145632" y="327211"/>
                    <a:pt x="131887" y="323520"/>
                  </a:cubicBezTo>
                  <a:cubicBezTo>
                    <a:pt x="118007" y="319801"/>
                    <a:pt x="98570" y="329056"/>
                    <a:pt x="86154" y="321891"/>
                  </a:cubicBezTo>
                  <a:cubicBezTo>
                    <a:pt x="73819" y="314753"/>
                    <a:pt x="72111" y="293312"/>
                    <a:pt x="61864" y="283052"/>
                  </a:cubicBezTo>
                  <a:cubicBezTo>
                    <a:pt x="51644" y="272793"/>
                    <a:pt x="30200" y="271083"/>
                    <a:pt x="23097" y="258734"/>
                  </a:cubicBezTo>
                  <a:cubicBezTo>
                    <a:pt x="15913" y="246304"/>
                    <a:pt x="25158" y="226844"/>
                    <a:pt x="21444" y="212975"/>
                  </a:cubicBezTo>
                  <a:cubicBezTo>
                    <a:pt x="17757" y="199214"/>
                    <a:pt x="0" y="187001"/>
                    <a:pt x="0" y="172508"/>
                  </a:cubicBezTo>
                  <a:cubicBezTo>
                    <a:pt x="0" y="158014"/>
                    <a:pt x="17757" y="145801"/>
                    <a:pt x="21444" y="132040"/>
                  </a:cubicBezTo>
                  <a:cubicBezTo>
                    <a:pt x="25158" y="118144"/>
                    <a:pt x="15913" y="98684"/>
                    <a:pt x="23097" y="86254"/>
                  </a:cubicBezTo>
                  <a:cubicBezTo>
                    <a:pt x="30200" y="73905"/>
                    <a:pt x="51644" y="72195"/>
                    <a:pt x="61864" y="61936"/>
                  </a:cubicBezTo>
                  <a:cubicBezTo>
                    <a:pt x="72111" y="51703"/>
                    <a:pt x="73819" y="30235"/>
                    <a:pt x="86154" y="23124"/>
                  </a:cubicBezTo>
                  <a:cubicBezTo>
                    <a:pt x="98570" y="15932"/>
                    <a:pt x="118007" y="25187"/>
                    <a:pt x="131887" y="21468"/>
                  </a:cubicBezTo>
                  <a:cubicBezTo>
                    <a:pt x="145632" y="17777"/>
                    <a:pt x="157804" y="0"/>
                    <a:pt x="172307" y="0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" name="Freeform 352">
              <a:extLst>
                <a:ext uri="{FF2B5EF4-FFF2-40B4-BE49-F238E27FC236}">
                  <a16:creationId xmlns:a16="http://schemas.microsoft.com/office/drawing/2014/main" id="{02E74E3F-674C-468C-B05E-B8BF34A8AB86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6243" y="443760"/>
              <a:ext cx="145448" cy="207954"/>
            </a:xfrm>
            <a:custGeom>
              <a:avLst/>
              <a:gdLst>
                <a:gd name="T0" fmla="*/ 3234 w 5365"/>
                <a:gd name="T1" fmla="*/ 384 h 7662"/>
                <a:gd name="T2" fmla="*/ 1547 w 5365"/>
                <a:gd name="T3" fmla="*/ 444 h 7662"/>
                <a:gd name="T4" fmla="*/ 57 w 5365"/>
                <a:gd name="T5" fmla="*/ 1235 h 7662"/>
                <a:gd name="T6" fmla="*/ 0 w 5365"/>
                <a:gd name="T7" fmla="*/ 1233 h 7662"/>
                <a:gd name="T8" fmla="*/ 1722 w 5365"/>
                <a:gd name="T9" fmla="*/ 7662 h 7662"/>
                <a:gd name="T10" fmla="*/ 3185 w 5365"/>
                <a:gd name="T11" fmla="*/ 5834 h 7662"/>
                <a:gd name="T12" fmla="*/ 5365 w 5365"/>
                <a:gd name="T13" fmla="*/ 6686 h 7662"/>
                <a:gd name="T14" fmla="*/ 3574 w 5365"/>
                <a:gd name="T15" fmla="*/ 0 h 7662"/>
                <a:gd name="T16" fmla="*/ 3234 w 5365"/>
                <a:gd name="T17" fmla="*/ 384 h 76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365" h="7662">
                  <a:moveTo>
                    <a:pt x="3234" y="384"/>
                  </a:moveTo>
                  <a:cubicBezTo>
                    <a:pt x="2776" y="649"/>
                    <a:pt x="2059" y="307"/>
                    <a:pt x="1547" y="444"/>
                  </a:cubicBezTo>
                  <a:cubicBezTo>
                    <a:pt x="1040" y="580"/>
                    <a:pt x="591" y="1235"/>
                    <a:pt x="57" y="1235"/>
                  </a:cubicBezTo>
                  <a:cubicBezTo>
                    <a:pt x="37" y="1235"/>
                    <a:pt x="18" y="1235"/>
                    <a:pt x="0" y="1233"/>
                  </a:cubicBezTo>
                  <a:lnTo>
                    <a:pt x="1722" y="7662"/>
                  </a:lnTo>
                  <a:lnTo>
                    <a:pt x="3185" y="5834"/>
                  </a:lnTo>
                  <a:lnTo>
                    <a:pt x="5365" y="6686"/>
                  </a:lnTo>
                  <a:lnTo>
                    <a:pt x="3574" y="0"/>
                  </a:lnTo>
                  <a:cubicBezTo>
                    <a:pt x="3485" y="162"/>
                    <a:pt x="3380" y="300"/>
                    <a:pt x="3234" y="384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" name="Freeform 353">
              <a:extLst>
                <a:ext uri="{FF2B5EF4-FFF2-40B4-BE49-F238E27FC236}">
                  <a16:creationId xmlns:a16="http://schemas.microsoft.com/office/drawing/2014/main" id="{DAD1C763-E31E-4212-98CA-65F48FEFF261}"/>
                </a:ext>
              </a:extLst>
            </p:cNvPr>
            <p:cNvSpPr>
              <a:spLocks/>
            </p:cNvSpPr>
            <p:nvPr/>
          </p:nvSpPr>
          <p:spPr bwMode="auto">
            <a:xfrm>
              <a:off x="2608373" y="443760"/>
              <a:ext cx="145448" cy="207954"/>
            </a:xfrm>
            <a:custGeom>
              <a:avLst/>
              <a:gdLst>
                <a:gd name="T0" fmla="*/ 2131 w 5366"/>
                <a:gd name="T1" fmla="*/ 384 h 7662"/>
                <a:gd name="T2" fmla="*/ 3818 w 5366"/>
                <a:gd name="T3" fmla="*/ 444 h 7662"/>
                <a:gd name="T4" fmla="*/ 5308 w 5366"/>
                <a:gd name="T5" fmla="*/ 1235 h 7662"/>
                <a:gd name="T6" fmla="*/ 5366 w 5366"/>
                <a:gd name="T7" fmla="*/ 1233 h 7662"/>
                <a:gd name="T8" fmla="*/ 3643 w 5366"/>
                <a:gd name="T9" fmla="*/ 7662 h 7662"/>
                <a:gd name="T10" fmla="*/ 2180 w 5366"/>
                <a:gd name="T11" fmla="*/ 5834 h 7662"/>
                <a:gd name="T12" fmla="*/ 0 w 5366"/>
                <a:gd name="T13" fmla="*/ 6686 h 7662"/>
                <a:gd name="T14" fmla="*/ 1791 w 5366"/>
                <a:gd name="T15" fmla="*/ 0 h 7662"/>
                <a:gd name="T16" fmla="*/ 2131 w 5366"/>
                <a:gd name="T17" fmla="*/ 384 h 76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366" h="7662">
                  <a:moveTo>
                    <a:pt x="2131" y="384"/>
                  </a:moveTo>
                  <a:cubicBezTo>
                    <a:pt x="2589" y="649"/>
                    <a:pt x="3306" y="307"/>
                    <a:pt x="3818" y="444"/>
                  </a:cubicBezTo>
                  <a:cubicBezTo>
                    <a:pt x="4325" y="580"/>
                    <a:pt x="4774" y="1235"/>
                    <a:pt x="5308" y="1235"/>
                  </a:cubicBezTo>
                  <a:cubicBezTo>
                    <a:pt x="5328" y="1235"/>
                    <a:pt x="5347" y="1235"/>
                    <a:pt x="5366" y="1233"/>
                  </a:cubicBezTo>
                  <a:lnTo>
                    <a:pt x="3643" y="7662"/>
                  </a:lnTo>
                  <a:lnTo>
                    <a:pt x="2180" y="5834"/>
                  </a:lnTo>
                  <a:lnTo>
                    <a:pt x="0" y="6686"/>
                  </a:lnTo>
                  <a:lnTo>
                    <a:pt x="1791" y="0"/>
                  </a:lnTo>
                  <a:cubicBezTo>
                    <a:pt x="1880" y="162"/>
                    <a:pt x="1985" y="300"/>
                    <a:pt x="2131" y="384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5" name="ZoneTexte 4">
            <a:extLst>
              <a:ext uri="{FF2B5EF4-FFF2-40B4-BE49-F238E27FC236}">
                <a16:creationId xmlns:a16="http://schemas.microsoft.com/office/drawing/2014/main" id="{DFEA2082-E7DE-4453-8158-54F380B94285}"/>
              </a:ext>
            </a:extLst>
          </p:cNvPr>
          <p:cNvSpPr txBox="1"/>
          <p:nvPr/>
        </p:nvSpPr>
        <p:spPr>
          <a:xfrm>
            <a:off x="8045042" y="1417320"/>
            <a:ext cx="3649777" cy="11387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3200" dirty="0">
                <a:latin typeface="Arial" panose="020B0604020202020204" pitchFamily="34" charset="0"/>
                <a:cs typeface="Arial" panose="020B0604020202020204" pitchFamily="34" charset="0"/>
              </a:rPr>
              <a:t>La TVA</a:t>
            </a:r>
          </a:p>
          <a:p>
            <a:endParaRPr lang="fr-FR" dirty="0"/>
          </a:p>
          <a:p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96356880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5" name="Rectangle 1"/>
          <p:cNvSpPr>
            <a:spLocks noChangeArrowheads="1"/>
          </p:cNvSpPr>
          <p:nvPr/>
        </p:nvSpPr>
        <p:spPr bwMode="auto">
          <a:xfrm>
            <a:off x="5817643" y="6177935"/>
            <a:ext cx="223138" cy="430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228600" indent="-228600" algn="just" fontAlgn="base">
              <a:spcBef>
                <a:spcPct val="0"/>
              </a:spcBef>
              <a:spcAft>
                <a:spcPct val="0"/>
              </a:spcAft>
            </a:pPr>
            <a:endParaRPr lang="fr-FR" sz="11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  <a:p>
            <a:pPr algn="just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fr-FR" sz="1100" dirty="0">
                <a:solidFill>
                  <a:prstClr val="black"/>
                </a:solidFill>
                <a:latin typeface="Arial" pitchFamily="34" charset="0"/>
                <a:ea typeface="Times New Roman" pitchFamily="18" charset="0"/>
                <a:cs typeface="Arial" pitchFamily="34" charset="0"/>
              </a:rPr>
              <a:t>.</a:t>
            </a:r>
            <a:endParaRPr lang="fr-FR" sz="11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graphicFrame>
        <p:nvGraphicFramePr>
          <p:cNvPr id="4" name="Diagramme 3"/>
          <p:cNvGraphicFramePr/>
          <p:nvPr/>
        </p:nvGraphicFramePr>
        <p:xfrm>
          <a:off x="1847528" y="476672"/>
          <a:ext cx="8568952" cy="591670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127195729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AEFCB68E-E041-4E46-A233-3C2208DA32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53363" y="365760"/>
            <a:ext cx="9367203" cy="1188720"/>
          </a:xfrm>
        </p:spPr>
        <p:txBody>
          <a:bodyPr>
            <a:normAutofit/>
          </a:bodyPr>
          <a:lstStyle/>
          <a:p>
            <a:r>
              <a:rPr lang="fr-FR" dirty="0"/>
              <a:t>Comptabilisation - principes</a:t>
            </a:r>
          </a:p>
        </p:txBody>
      </p:sp>
      <p:sp>
        <p:nvSpPr>
          <p:cNvPr id="8" name="Freeform: Shape 7">
            <a:extLst>
              <a:ext uri="{FF2B5EF4-FFF2-40B4-BE49-F238E27FC236}">
                <a16:creationId xmlns:a16="http://schemas.microsoft.com/office/drawing/2014/main" id="{7CB4857B-ED7C-444D-9F04-2F885114A1C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" y="0"/>
            <a:ext cx="1764099" cy="1558212"/>
          </a:xfrm>
          <a:custGeom>
            <a:avLst/>
            <a:gdLst>
              <a:gd name="connsiteX0" fmla="*/ 0 w 1764099"/>
              <a:gd name="connsiteY0" fmla="*/ 0 h 1558212"/>
              <a:gd name="connsiteX1" fmla="*/ 1764099 w 1764099"/>
              <a:gd name="connsiteY1" fmla="*/ 0 h 1558212"/>
              <a:gd name="connsiteX2" fmla="*/ 1042087 w 1764099"/>
              <a:gd name="connsiteY2" fmla="*/ 1558212 h 1558212"/>
              <a:gd name="connsiteX3" fmla="*/ 0 w 1764099"/>
              <a:gd name="connsiteY3" fmla="*/ 1558212 h 15582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764099" h="1558212">
                <a:moveTo>
                  <a:pt x="0" y="0"/>
                </a:moveTo>
                <a:lnTo>
                  <a:pt x="1764099" y="0"/>
                </a:lnTo>
                <a:lnTo>
                  <a:pt x="1042087" y="1558212"/>
                </a:lnTo>
                <a:lnTo>
                  <a:pt x="0" y="1558212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D18046FB-44EA-4FD8-A585-EA09A319B2D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" y="1691640"/>
            <a:ext cx="12191999" cy="5166360"/>
          </a:xfrm>
          <a:custGeom>
            <a:avLst/>
            <a:gdLst>
              <a:gd name="connsiteX0" fmla="*/ 0 w 12191999"/>
              <a:gd name="connsiteY0" fmla="*/ 0 h 5166360"/>
              <a:gd name="connsiteX1" fmla="*/ 1822388 w 12191999"/>
              <a:gd name="connsiteY1" fmla="*/ 0 h 5166360"/>
              <a:gd name="connsiteX2" fmla="*/ 6468290 w 12191999"/>
              <a:gd name="connsiteY2" fmla="*/ 0 h 5166360"/>
              <a:gd name="connsiteX3" fmla="*/ 7796394 w 12191999"/>
              <a:gd name="connsiteY3" fmla="*/ 0 h 5166360"/>
              <a:gd name="connsiteX4" fmla="*/ 8376834 w 12191999"/>
              <a:gd name="connsiteY4" fmla="*/ 0 h 5166360"/>
              <a:gd name="connsiteX5" fmla="*/ 9704938 w 12191999"/>
              <a:gd name="connsiteY5" fmla="*/ 0 h 5166360"/>
              <a:gd name="connsiteX6" fmla="*/ 9704938 w 12191999"/>
              <a:gd name="connsiteY6" fmla="*/ 2 h 5166360"/>
              <a:gd name="connsiteX7" fmla="*/ 10283456 w 12191999"/>
              <a:gd name="connsiteY7" fmla="*/ 2 h 5166360"/>
              <a:gd name="connsiteX8" fmla="*/ 10863897 w 12191999"/>
              <a:gd name="connsiteY8" fmla="*/ 2 h 5166360"/>
              <a:gd name="connsiteX9" fmla="*/ 12191999 w 12191999"/>
              <a:gd name="connsiteY9" fmla="*/ 2 h 5166360"/>
              <a:gd name="connsiteX10" fmla="*/ 12191999 w 12191999"/>
              <a:gd name="connsiteY10" fmla="*/ 5166360 h 5166360"/>
              <a:gd name="connsiteX11" fmla="*/ 0 w 12191999"/>
              <a:gd name="connsiteY11" fmla="*/ 5166360 h 5166360"/>
              <a:gd name="connsiteX12" fmla="*/ 0 w 12191999"/>
              <a:gd name="connsiteY12" fmla="*/ 2604436 h 5166360"/>
              <a:gd name="connsiteX13" fmla="*/ 862341 w 12191999"/>
              <a:gd name="connsiteY13" fmla="*/ 743371 h 5166360"/>
              <a:gd name="connsiteX14" fmla="*/ 0 w 12191999"/>
              <a:gd name="connsiteY14" fmla="*/ 743371 h 5166360"/>
              <a:gd name="connsiteX15" fmla="*/ 0 w 12191999"/>
              <a:gd name="connsiteY15" fmla="*/ 742508 h 5166360"/>
              <a:gd name="connsiteX16" fmla="*/ 92826 w 12191999"/>
              <a:gd name="connsiteY16" fmla="*/ 742508 h 5166360"/>
              <a:gd name="connsiteX17" fmla="*/ 406486 w 12191999"/>
              <a:gd name="connsiteY17" fmla="*/ 742508 h 5166360"/>
              <a:gd name="connsiteX18" fmla="*/ 406486 w 12191999"/>
              <a:gd name="connsiteY18" fmla="*/ 742507 h 5166360"/>
              <a:gd name="connsiteX19" fmla="*/ 862741 w 12191999"/>
              <a:gd name="connsiteY19" fmla="*/ 742507 h 5166360"/>
              <a:gd name="connsiteX20" fmla="*/ 1206388 w 12191999"/>
              <a:gd name="connsiteY20" fmla="*/ 864 h 5166360"/>
              <a:gd name="connsiteX21" fmla="*/ 748500 w 12191999"/>
              <a:gd name="connsiteY21" fmla="*/ 864 h 5166360"/>
              <a:gd name="connsiteX22" fmla="*/ 0 w 12191999"/>
              <a:gd name="connsiteY22" fmla="*/ 864 h 51663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12191999" h="5166360">
                <a:moveTo>
                  <a:pt x="0" y="0"/>
                </a:moveTo>
                <a:lnTo>
                  <a:pt x="1822388" y="0"/>
                </a:lnTo>
                <a:lnTo>
                  <a:pt x="6468290" y="0"/>
                </a:lnTo>
                <a:lnTo>
                  <a:pt x="7796394" y="0"/>
                </a:lnTo>
                <a:lnTo>
                  <a:pt x="8376834" y="0"/>
                </a:lnTo>
                <a:lnTo>
                  <a:pt x="9704938" y="0"/>
                </a:lnTo>
                <a:lnTo>
                  <a:pt x="9704938" y="2"/>
                </a:lnTo>
                <a:lnTo>
                  <a:pt x="10283456" y="2"/>
                </a:lnTo>
                <a:lnTo>
                  <a:pt x="10863897" y="2"/>
                </a:lnTo>
                <a:lnTo>
                  <a:pt x="12191999" y="2"/>
                </a:lnTo>
                <a:lnTo>
                  <a:pt x="12191999" y="5166360"/>
                </a:lnTo>
                <a:lnTo>
                  <a:pt x="0" y="5166360"/>
                </a:lnTo>
                <a:lnTo>
                  <a:pt x="0" y="2604436"/>
                </a:lnTo>
                <a:lnTo>
                  <a:pt x="862341" y="743371"/>
                </a:lnTo>
                <a:lnTo>
                  <a:pt x="0" y="743371"/>
                </a:lnTo>
                <a:lnTo>
                  <a:pt x="0" y="742508"/>
                </a:lnTo>
                <a:lnTo>
                  <a:pt x="92826" y="742508"/>
                </a:lnTo>
                <a:lnTo>
                  <a:pt x="406486" y="742508"/>
                </a:lnTo>
                <a:lnTo>
                  <a:pt x="406486" y="742507"/>
                </a:lnTo>
                <a:lnTo>
                  <a:pt x="862741" y="742507"/>
                </a:lnTo>
                <a:lnTo>
                  <a:pt x="1206388" y="864"/>
                </a:lnTo>
                <a:lnTo>
                  <a:pt x="748500" y="864"/>
                </a:lnTo>
                <a:lnTo>
                  <a:pt x="0" y="864"/>
                </a:lnTo>
                <a:close/>
              </a:path>
            </a:pathLst>
          </a:custGeom>
          <a:solidFill>
            <a:srgbClr val="A6A6A6">
              <a:alpha val="4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479F5F2B-8B58-4140-AE6A-51F6C67B18D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1691641"/>
            <a:ext cx="971654" cy="2096979"/>
          </a:xfrm>
          <a:custGeom>
            <a:avLst/>
            <a:gdLst>
              <a:gd name="connsiteX0" fmla="*/ 0 w 971654"/>
              <a:gd name="connsiteY0" fmla="*/ 0 h 2096979"/>
              <a:gd name="connsiteX1" fmla="*/ 971654 w 971654"/>
              <a:gd name="connsiteY1" fmla="*/ 0 h 2096979"/>
              <a:gd name="connsiteX2" fmla="*/ 0 w 971654"/>
              <a:gd name="connsiteY2" fmla="*/ 2096979 h 20969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971654" h="2096979">
                <a:moveTo>
                  <a:pt x="0" y="0"/>
                </a:moveTo>
                <a:lnTo>
                  <a:pt x="971654" y="0"/>
                </a:lnTo>
                <a:lnTo>
                  <a:pt x="0" y="2096979"/>
                </a:lnTo>
                <a:close/>
              </a:path>
            </a:pathLst>
          </a:custGeom>
          <a:solidFill>
            <a:srgbClr val="40404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9FA71A85-160A-4CFF-9241-BA71D421B86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182757" y="1920240"/>
            <a:ext cx="10873408" cy="4868186"/>
          </a:xfrm>
        </p:spPr>
        <p:txBody>
          <a:bodyPr anchor="t">
            <a:normAutofit fontScale="92500" lnSpcReduction="10000"/>
          </a:bodyPr>
          <a:lstStyle/>
          <a:p>
            <a:pPr marL="0" indent="0">
              <a:buNone/>
            </a:pPr>
            <a:r>
              <a:rPr lang="fr-FR" sz="13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 </a:t>
            </a:r>
          </a:p>
          <a:p>
            <a:r>
              <a:rPr lang="fr-FR" sz="22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L’établissement du compte de résultat nous a permis de déterminer le résultat de l’exercice en faisant la différence entre tous les produits et toutes les charges survenus pendant l’exercice.</a:t>
            </a:r>
          </a:p>
          <a:p>
            <a:endParaRPr lang="fr-FR" sz="2200" dirty="0">
              <a:effectLst/>
              <a:latin typeface="Verdana" panose="020B060403050404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fr-FR" sz="22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Le bilan nous a permis de déterminer ce que possédait l’entreprise (actif) et ce qu’elle devait (passif) à la fin de l’exercice.</a:t>
            </a:r>
          </a:p>
          <a:p>
            <a:pPr marL="0" indent="0">
              <a:buNone/>
            </a:pPr>
            <a:r>
              <a:rPr lang="fr-FR" sz="22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 </a:t>
            </a:r>
          </a:p>
          <a:p>
            <a:r>
              <a:rPr lang="fr-FR" sz="22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En comptabilité, il faut comptabiliser (enregistrer) les opérations (achats, ventes, règlements..) chronologiquement (horodatage / FEC) :</a:t>
            </a:r>
          </a:p>
          <a:p>
            <a:pPr marL="0" indent="0">
              <a:buNone/>
            </a:pPr>
            <a:r>
              <a:rPr lang="fr-FR" sz="22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 </a:t>
            </a:r>
          </a:p>
          <a:p>
            <a:pPr marL="819150" lvl="1"/>
            <a:r>
              <a:rPr lang="fr-FR" sz="22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=&gt; Dès qu’il y a un achat =&gt; Enregistrement.</a:t>
            </a:r>
          </a:p>
          <a:p>
            <a:pPr marL="133350" indent="0">
              <a:buNone/>
            </a:pPr>
            <a:r>
              <a:rPr lang="fr-FR" sz="22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 </a:t>
            </a:r>
          </a:p>
          <a:p>
            <a:pPr marL="819150" lvl="1"/>
            <a:r>
              <a:rPr lang="fr-FR" sz="22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=&gt; Dès qu’il y a une vente =&gt; Enregistrement.</a:t>
            </a:r>
          </a:p>
          <a:p>
            <a:pPr marL="0" indent="0">
              <a:buNone/>
            </a:pPr>
            <a:r>
              <a:rPr lang="fr-FR" sz="2200" b="1" u="none" strike="noStrike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 </a:t>
            </a:r>
            <a:endParaRPr lang="fr-FR" sz="2200" dirty="0">
              <a:effectLst/>
              <a:latin typeface="Verdana" panose="020B060403050404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endParaRPr lang="fr-FR" sz="1300" dirty="0"/>
          </a:p>
        </p:txBody>
      </p:sp>
    </p:spTree>
    <p:extLst>
      <p:ext uri="{BB962C8B-B14F-4D97-AF65-F5344CB8AC3E}">
        <p14:creationId xmlns:p14="http://schemas.microsoft.com/office/powerpoint/2010/main" val="2343994896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5" name="Rectangle 1"/>
          <p:cNvSpPr>
            <a:spLocks noChangeArrowheads="1"/>
          </p:cNvSpPr>
          <p:nvPr/>
        </p:nvSpPr>
        <p:spPr bwMode="auto">
          <a:xfrm>
            <a:off x="5817643" y="6177935"/>
            <a:ext cx="223138" cy="430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228600" indent="-228600" algn="just" fontAlgn="base">
              <a:spcBef>
                <a:spcPct val="0"/>
              </a:spcBef>
              <a:spcAft>
                <a:spcPct val="0"/>
              </a:spcAft>
            </a:pPr>
            <a:endParaRPr lang="fr-FR" sz="11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  <a:p>
            <a:pPr algn="just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fr-FR" sz="1100" dirty="0">
                <a:solidFill>
                  <a:prstClr val="black"/>
                </a:solidFill>
                <a:latin typeface="Arial" pitchFamily="34" charset="0"/>
                <a:ea typeface="Times New Roman" pitchFamily="18" charset="0"/>
                <a:cs typeface="Arial" pitchFamily="34" charset="0"/>
              </a:rPr>
              <a:t>.</a:t>
            </a:r>
            <a:endParaRPr lang="fr-FR" sz="11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graphicFrame>
        <p:nvGraphicFramePr>
          <p:cNvPr id="5" name="Diagramme 4"/>
          <p:cNvGraphicFramePr/>
          <p:nvPr/>
        </p:nvGraphicFramePr>
        <p:xfrm>
          <a:off x="1703512" y="476672"/>
          <a:ext cx="5112568" cy="554461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aphicFrame>
        <p:nvGraphicFramePr>
          <p:cNvPr id="8" name="Diagramme 7"/>
          <p:cNvGraphicFramePr/>
          <p:nvPr/>
        </p:nvGraphicFramePr>
        <p:xfrm>
          <a:off x="6888088" y="476672"/>
          <a:ext cx="3672408" cy="554461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</p:spTree>
    <p:extLst>
      <p:ext uri="{BB962C8B-B14F-4D97-AF65-F5344CB8AC3E}">
        <p14:creationId xmlns:p14="http://schemas.microsoft.com/office/powerpoint/2010/main" val="2720677423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7" name="Rectangle 16">
            <a:extLst>
              <a:ext uri="{FF2B5EF4-FFF2-40B4-BE49-F238E27FC236}">
                <a16:creationId xmlns:a16="http://schemas.microsoft.com/office/drawing/2014/main" id="{100EDD19-6802-4EC3-95CE-CFFAB042CFD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AEFCB68E-E041-4E46-A233-3C2208DA32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</p:spPr>
        <p:txBody>
          <a:bodyPr>
            <a:normAutofit/>
          </a:bodyPr>
          <a:lstStyle/>
          <a:p>
            <a:r>
              <a:rPr lang="fr-FR" sz="5400" dirty="0"/>
              <a:t>Principe TVA</a:t>
            </a:r>
          </a:p>
        </p:txBody>
      </p:sp>
      <p:sp>
        <p:nvSpPr>
          <p:cNvPr id="19" name="sketch line">
            <a:extLst>
              <a:ext uri="{FF2B5EF4-FFF2-40B4-BE49-F238E27FC236}">
                <a16:creationId xmlns:a16="http://schemas.microsoft.com/office/drawing/2014/main" id="{DB17E863-922E-4C26-BD64-E8FD41D2866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669036" y="1677373"/>
            <a:ext cx="10853928" cy="18288"/>
          </a:xfrm>
          <a:custGeom>
            <a:avLst/>
            <a:gdLst>
              <a:gd name="connsiteX0" fmla="*/ 0 w 10853928"/>
              <a:gd name="connsiteY0" fmla="*/ 0 h 18288"/>
              <a:gd name="connsiteX1" fmla="*/ 461292 w 10853928"/>
              <a:gd name="connsiteY1" fmla="*/ 0 h 18288"/>
              <a:gd name="connsiteX2" fmla="*/ 1139662 w 10853928"/>
              <a:gd name="connsiteY2" fmla="*/ 0 h 18288"/>
              <a:gd name="connsiteX3" fmla="*/ 1926572 w 10853928"/>
              <a:gd name="connsiteY3" fmla="*/ 0 h 18288"/>
              <a:gd name="connsiteX4" fmla="*/ 2279325 w 10853928"/>
              <a:gd name="connsiteY4" fmla="*/ 0 h 18288"/>
              <a:gd name="connsiteX5" fmla="*/ 2632078 w 10853928"/>
              <a:gd name="connsiteY5" fmla="*/ 0 h 18288"/>
              <a:gd name="connsiteX6" fmla="*/ 3527527 w 10853928"/>
              <a:gd name="connsiteY6" fmla="*/ 0 h 18288"/>
              <a:gd name="connsiteX7" fmla="*/ 4205897 w 10853928"/>
              <a:gd name="connsiteY7" fmla="*/ 0 h 18288"/>
              <a:gd name="connsiteX8" fmla="*/ 4558650 w 10853928"/>
              <a:gd name="connsiteY8" fmla="*/ 0 h 18288"/>
              <a:gd name="connsiteX9" fmla="*/ 5237020 w 10853928"/>
              <a:gd name="connsiteY9" fmla="*/ 0 h 18288"/>
              <a:gd name="connsiteX10" fmla="*/ 6132469 w 10853928"/>
              <a:gd name="connsiteY10" fmla="*/ 0 h 18288"/>
              <a:gd name="connsiteX11" fmla="*/ 6702301 w 10853928"/>
              <a:gd name="connsiteY11" fmla="*/ 0 h 18288"/>
              <a:gd name="connsiteX12" fmla="*/ 7272132 w 10853928"/>
              <a:gd name="connsiteY12" fmla="*/ 0 h 18288"/>
              <a:gd name="connsiteX13" fmla="*/ 7950502 w 10853928"/>
              <a:gd name="connsiteY13" fmla="*/ 0 h 18288"/>
              <a:gd name="connsiteX14" fmla="*/ 8737412 w 10853928"/>
              <a:gd name="connsiteY14" fmla="*/ 0 h 18288"/>
              <a:gd name="connsiteX15" fmla="*/ 9524322 w 10853928"/>
              <a:gd name="connsiteY15" fmla="*/ 0 h 18288"/>
              <a:gd name="connsiteX16" fmla="*/ 10853928 w 10853928"/>
              <a:gd name="connsiteY16" fmla="*/ 0 h 18288"/>
              <a:gd name="connsiteX17" fmla="*/ 10853928 w 10853928"/>
              <a:gd name="connsiteY17" fmla="*/ 18288 h 18288"/>
              <a:gd name="connsiteX18" fmla="*/ 10392636 w 10853928"/>
              <a:gd name="connsiteY18" fmla="*/ 18288 h 18288"/>
              <a:gd name="connsiteX19" fmla="*/ 9497187 w 10853928"/>
              <a:gd name="connsiteY19" fmla="*/ 18288 h 18288"/>
              <a:gd name="connsiteX20" fmla="*/ 8818817 w 10853928"/>
              <a:gd name="connsiteY20" fmla="*/ 18288 h 18288"/>
              <a:gd name="connsiteX21" fmla="*/ 8466064 w 10853928"/>
              <a:gd name="connsiteY21" fmla="*/ 18288 h 18288"/>
              <a:gd name="connsiteX22" fmla="*/ 7787693 w 10853928"/>
              <a:gd name="connsiteY22" fmla="*/ 18288 h 18288"/>
              <a:gd name="connsiteX23" fmla="*/ 7217862 w 10853928"/>
              <a:gd name="connsiteY23" fmla="*/ 18288 h 18288"/>
              <a:gd name="connsiteX24" fmla="*/ 6648031 w 10853928"/>
              <a:gd name="connsiteY24" fmla="*/ 18288 h 18288"/>
              <a:gd name="connsiteX25" fmla="*/ 6078200 w 10853928"/>
              <a:gd name="connsiteY25" fmla="*/ 18288 h 18288"/>
              <a:gd name="connsiteX26" fmla="*/ 5508368 w 10853928"/>
              <a:gd name="connsiteY26" fmla="*/ 18288 h 18288"/>
              <a:gd name="connsiteX27" fmla="*/ 4721459 w 10853928"/>
              <a:gd name="connsiteY27" fmla="*/ 18288 h 18288"/>
              <a:gd name="connsiteX28" fmla="*/ 4043088 w 10853928"/>
              <a:gd name="connsiteY28" fmla="*/ 18288 h 18288"/>
              <a:gd name="connsiteX29" fmla="*/ 3690336 w 10853928"/>
              <a:gd name="connsiteY29" fmla="*/ 18288 h 18288"/>
              <a:gd name="connsiteX30" fmla="*/ 3120504 w 10853928"/>
              <a:gd name="connsiteY30" fmla="*/ 18288 h 18288"/>
              <a:gd name="connsiteX31" fmla="*/ 2333595 w 10853928"/>
              <a:gd name="connsiteY31" fmla="*/ 18288 h 18288"/>
              <a:gd name="connsiteX32" fmla="*/ 1872303 w 10853928"/>
              <a:gd name="connsiteY32" fmla="*/ 18288 h 18288"/>
              <a:gd name="connsiteX33" fmla="*/ 976854 w 10853928"/>
              <a:gd name="connsiteY33" fmla="*/ 18288 h 18288"/>
              <a:gd name="connsiteX34" fmla="*/ 0 w 10853928"/>
              <a:gd name="connsiteY34" fmla="*/ 18288 h 18288"/>
              <a:gd name="connsiteX35" fmla="*/ 0 w 10853928"/>
              <a:gd name="connsiteY35" fmla="*/ 0 h 182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</a:cxnLst>
            <a:rect l="l" t="t" r="r" b="b"/>
            <a:pathLst>
              <a:path w="10853928" h="18288" fill="none" extrusionOk="0">
                <a:moveTo>
                  <a:pt x="0" y="0"/>
                </a:moveTo>
                <a:cubicBezTo>
                  <a:pt x="146993" y="-19076"/>
                  <a:pt x="347684" y="-4790"/>
                  <a:pt x="461292" y="0"/>
                </a:cubicBezTo>
                <a:cubicBezTo>
                  <a:pt x="574900" y="4790"/>
                  <a:pt x="808367" y="19821"/>
                  <a:pt x="1139662" y="0"/>
                </a:cubicBezTo>
                <a:cubicBezTo>
                  <a:pt x="1470957" y="-19821"/>
                  <a:pt x="1627405" y="5721"/>
                  <a:pt x="1926572" y="0"/>
                </a:cubicBezTo>
                <a:cubicBezTo>
                  <a:pt x="2225739" y="-5721"/>
                  <a:pt x="2137730" y="-3235"/>
                  <a:pt x="2279325" y="0"/>
                </a:cubicBezTo>
                <a:cubicBezTo>
                  <a:pt x="2420920" y="3235"/>
                  <a:pt x="2456518" y="9685"/>
                  <a:pt x="2632078" y="0"/>
                </a:cubicBezTo>
                <a:cubicBezTo>
                  <a:pt x="2807638" y="-9685"/>
                  <a:pt x="3211516" y="-43007"/>
                  <a:pt x="3527527" y="0"/>
                </a:cubicBezTo>
                <a:cubicBezTo>
                  <a:pt x="3843538" y="43007"/>
                  <a:pt x="4058833" y="22042"/>
                  <a:pt x="4205897" y="0"/>
                </a:cubicBezTo>
                <a:cubicBezTo>
                  <a:pt x="4352961" y="-22042"/>
                  <a:pt x="4474805" y="-11846"/>
                  <a:pt x="4558650" y="0"/>
                </a:cubicBezTo>
                <a:cubicBezTo>
                  <a:pt x="4642495" y="11846"/>
                  <a:pt x="5041928" y="-6069"/>
                  <a:pt x="5237020" y="0"/>
                </a:cubicBezTo>
                <a:cubicBezTo>
                  <a:pt x="5432112" y="6069"/>
                  <a:pt x="5943266" y="-17479"/>
                  <a:pt x="6132469" y="0"/>
                </a:cubicBezTo>
                <a:cubicBezTo>
                  <a:pt x="6321672" y="17479"/>
                  <a:pt x="6483872" y="26234"/>
                  <a:pt x="6702301" y="0"/>
                </a:cubicBezTo>
                <a:cubicBezTo>
                  <a:pt x="6920730" y="-26234"/>
                  <a:pt x="6991194" y="-15156"/>
                  <a:pt x="7272132" y="0"/>
                </a:cubicBezTo>
                <a:cubicBezTo>
                  <a:pt x="7553070" y="15156"/>
                  <a:pt x="7684444" y="-32961"/>
                  <a:pt x="7950502" y="0"/>
                </a:cubicBezTo>
                <a:cubicBezTo>
                  <a:pt x="8216560" y="32961"/>
                  <a:pt x="8493290" y="-10491"/>
                  <a:pt x="8737412" y="0"/>
                </a:cubicBezTo>
                <a:cubicBezTo>
                  <a:pt x="8981534" y="10491"/>
                  <a:pt x="9191586" y="-13899"/>
                  <a:pt x="9524322" y="0"/>
                </a:cubicBezTo>
                <a:cubicBezTo>
                  <a:pt x="9857058" y="13899"/>
                  <a:pt x="10297509" y="7485"/>
                  <a:pt x="10853928" y="0"/>
                </a:cubicBezTo>
                <a:cubicBezTo>
                  <a:pt x="10854574" y="4451"/>
                  <a:pt x="10854418" y="9226"/>
                  <a:pt x="10853928" y="18288"/>
                </a:cubicBezTo>
                <a:cubicBezTo>
                  <a:pt x="10691638" y="28522"/>
                  <a:pt x="10574319" y="29578"/>
                  <a:pt x="10392636" y="18288"/>
                </a:cubicBezTo>
                <a:cubicBezTo>
                  <a:pt x="10210953" y="6998"/>
                  <a:pt x="9836277" y="-16742"/>
                  <a:pt x="9497187" y="18288"/>
                </a:cubicBezTo>
                <a:cubicBezTo>
                  <a:pt x="9158097" y="53318"/>
                  <a:pt x="9119479" y="30714"/>
                  <a:pt x="8818817" y="18288"/>
                </a:cubicBezTo>
                <a:cubicBezTo>
                  <a:pt x="8518155" y="5863"/>
                  <a:pt x="8640037" y="6483"/>
                  <a:pt x="8466064" y="18288"/>
                </a:cubicBezTo>
                <a:cubicBezTo>
                  <a:pt x="8292091" y="30093"/>
                  <a:pt x="7997656" y="18914"/>
                  <a:pt x="7787693" y="18288"/>
                </a:cubicBezTo>
                <a:cubicBezTo>
                  <a:pt x="7577730" y="17662"/>
                  <a:pt x="7412468" y="21416"/>
                  <a:pt x="7217862" y="18288"/>
                </a:cubicBezTo>
                <a:cubicBezTo>
                  <a:pt x="7023256" y="15160"/>
                  <a:pt x="6898018" y="14824"/>
                  <a:pt x="6648031" y="18288"/>
                </a:cubicBezTo>
                <a:cubicBezTo>
                  <a:pt x="6398044" y="21752"/>
                  <a:pt x="6254402" y="38625"/>
                  <a:pt x="6078200" y="18288"/>
                </a:cubicBezTo>
                <a:cubicBezTo>
                  <a:pt x="5901998" y="-2049"/>
                  <a:pt x="5622886" y="3213"/>
                  <a:pt x="5508368" y="18288"/>
                </a:cubicBezTo>
                <a:cubicBezTo>
                  <a:pt x="5393850" y="33363"/>
                  <a:pt x="5036260" y="26830"/>
                  <a:pt x="4721459" y="18288"/>
                </a:cubicBezTo>
                <a:cubicBezTo>
                  <a:pt x="4406658" y="9746"/>
                  <a:pt x="4239221" y="41551"/>
                  <a:pt x="4043088" y="18288"/>
                </a:cubicBezTo>
                <a:cubicBezTo>
                  <a:pt x="3846955" y="-4975"/>
                  <a:pt x="3818802" y="34658"/>
                  <a:pt x="3690336" y="18288"/>
                </a:cubicBezTo>
                <a:cubicBezTo>
                  <a:pt x="3561870" y="1918"/>
                  <a:pt x="3265491" y="42194"/>
                  <a:pt x="3120504" y="18288"/>
                </a:cubicBezTo>
                <a:cubicBezTo>
                  <a:pt x="2975517" y="-5618"/>
                  <a:pt x="2720254" y="36673"/>
                  <a:pt x="2333595" y="18288"/>
                </a:cubicBezTo>
                <a:cubicBezTo>
                  <a:pt x="1946936" y="-97"/>
                  <a:pt x="2097241" y="5776"/>
                  <a:pt x="1872303" y="18288"/>
                </a:cubicBezTo>
                <a:cubicBezTo>
                  <a:pt x="1647365" y="30800"/>
                  <a:pt x="1282708" y="45380"/>
                  <a:pt x="976854" y="18288"/>
                </a:cubicBezTo>
                <a:cubicBezTo>
                  <a:pt x="671000" y="-8804"/>
                  <a:pt x="408401" y="-12775"/>
                  <a:pt x="0" y="18288"/>
                </a:cubicBezTo>
                <a:cubicBezTo>
                  <a:pt x="-213" y="9468"/>
                  <a:pt x="187" y="4459"/>
                  <a:pt x="0" y="0"/>
                </a:cubicBezTo>
                <a:close/>
              </a:path>
              <a:path w="10853928" h="18288" stroke="0" extrusionOk="0">
                <a:moveTo>
                  <a:pt x="0" y="0"/>
                </a:moveTo>
                <a:cubicBezTo>
                  <a:pt x="267322" y="15284"/>
                  <a:pt x="415388" y="-21048"/>
                  <a:pt x="569831" y="0"/>
                </a:cubicBezTo>
                <a:cubicBezTo>
                  <a:pt x="724274" y="21048"/>
                  <a:pt x="769333" y="-2353"/>
                  <a:pt x="922584" y="0"/>
                </a:cubicBezTo>
                <a:cubicBezTo>
                  <a:pt x="1075835" y="2353"/>
                  <a:pt x="1399490" y="-145"/>
                  <a:pt x="1818033" y="0"/>
                </a:cubicBezTo>
                <a:cubicBezTo>
                  <a:pt x="2236576" y="145"/>
                  <a:pt x="2145330" y="5482"/>
                  <a:pt x="2387864" y="0"/>
                </a:cubicBezTo>
                <a:cubicBezTo>
                  <a:pt x="2630398" y="-5482"/>
                  <a:pt x="2793207" y="18487"/>
                  <a:pt x="2957695" y="0"/>
                </a:cubicBezTo>
                <a:cubicBezTo>
                  <a:pt x="3122183" y="-18487"/>
                  <a:pt x="3579141" y="19003"/>
                  <a:pt x="3853144" y="0"/>
                </a:cubicBezTo>
                <a:cubicBezTo>
                  <a:pt x="4127147" y="-19003"/>
                  <a:pt x="4209857" y="12211"/>
                  <a:pt x="4314436" y="0"/>
                </a:cubicBezTo>
                <a:cubicBezTo>
                  <a:pt x="4419015" y="-12211"/>
                  <a:pt x="4762459" y="-17220"/>
                  <a:pt x="5209885" y="0"/>
                </a:cubicBezTo>
                <a:cubicBezTo>
                  <a:pt x="5657311" y="17220"/>
                  <a:pt x="5692663" y="-3290"/>
                  <a:pt x="6105335" y="0"/>
                </a:cubicBezTo>
                <a:cubicBezTo>
                  <a:pt x="6518007" y="3290"/>
                  <a:pt x="6455516" y="-5124"/>
                  <a:pt x="6783705" y="0"/>
                </a:cubicBezTo>
                <a:cubicBezTo>
                  <a:pt x="7111894" y="5124"/>
                  <a:pt x="7441941" y="-17829"/>
                  <a:pt x="7679154" y="0"/>
                </a:cubicBezTo>
                <a:cubicBezTo>
                  <a:pt x="7916367" y="17829"/>
                  <a:pt x="8102967" y="-24363"/>
                  <a:pt x="8248985" y="0"/>
                </a:cubicBezTo>
                <a:cubicBezTo>
                  <a:pt x="8395003" y="24363"/>
                  <a:pt x="8552393" y="25505"/>
                  <a:pt x="8818817" y="0"/>
                </a:cubicBezTo>
                <a:cubicBezTo>
                  <a:pt x="9085241" y="-25505"/>
                  <a:pt x="9411308" y="38000"/>
                  <a:pt x="9605726" y="0"/>
                </a:cubicBezTo>
                <a:cubicBezTo>
                  <a:pt x="9800144" y="-38000"/>
                  <a:pt x="10006468" y="-25741"/>
                  <a:pt x="10175558" y="0"/>
                </a:cubicBezTo>
                <a:cubicBezTo>
                  <a:pt x="10344648" y="25741"/>
                  <a:pt x="10696282" y="695"/>
                  <a:pt x="10853928" y="0"/>
                </a:cubicBezTo>
                <a:cubicBezTo>
                  <a:pt x="10853521" y="8690"/>
                  <a:pt x="10853774" y="14141"/>
                  <a:pt x="10853928" y="18288"/>
                </a:cubicBezTo>
                <a:cubicBezTo>
                  <a:pt x="10608124" y="24255"/>
                  <a:pt x="10343415" y="22307"/>
                  <a:pt x="10067018" y="18288"/>
                </a:cubicBezTo>
                <a:cubicBezTo>
                  <a:pt x="9790621" y="14270"/>
                  <a:pt x="9843266" y="3564"/>
                  <a:pt x="9714266" y="18288"/>
                </a:cubicBezTo>
                <a:cubicBezTo>
                  <a:pt x="9585266" y="33012"/>
                  <a:pt x="9379484" y="1875"/>
                  <a:pt x="9252974" y="18288"/>
                </a:cubicBezTo>
                <a:cubicBezTo>
                  <a:pt x="9126464" y="34701"/>
                  <a:pt x="8580678" y="-4904"/>
                  <a:pt x="8357525" y="18288"/>
                </a:cubicBezTo>
                <a:cubicBezTo>
                  <a:pt x="8134372" y="41480"/>
                  <a:pt x="7903199" y="26458"/>
                  <a:pt x="7679154" y="18288"/>
                </a:cubicBezTo>
                <a:cubicBezTo>
                  <a:pt x="7455109" y="10118"/>
                  <a:pt x="7435944" y="27109"/>
                  <a:pt x="7217862" y="18288"/>
                </a:cubicBezTo>
                <a:cubicBezTo>
                  <a:pt x="6999780" y="9467"/>
                  <a:pt x="6680409" y="18985"/>
                  <a:pt x="6539492" y="18288"/>
                </a:cubicBezTo>
                <a:cubicBezTo>
                  <a:pt x="6398575" y="17592"/>
                  <a:pt x="6312077" y="33018"/>
                  <a:pt x="6186739" y="18288"/>
                </a:cubicBezTo>
                <a:cubicBezTo>
                  <a:pt x="6061401" y="3558"/>
                  <a:pt x="5947033" y="12075"/>
                  <a:pt x="5833986" y="18288"/>
                </a:cubicBezTo>
                <a:cubicBezTo>
                  <a:pt x="5720939" y="24501"/>
                  <a:pt x="5482226" y="8586"/>
                  <a:pt x="5155616" y="18288"/>
                </a:cubicBezTo>
                <a:cubicBezTo>
                  <a:pt x="4829006" y="27991"/>
                  <a:pt x="4841274" y="29316"/>
                  <a:pt x="4694324" y="18288"/>
                </a:cubicBezTo>
                <a:cubicBezTo>
                  <a:pt x="4547374" y="7260"/>
                  <a:pt x="4077675" y="7013"/>
                  <a:pt x="3907414" y="18288"/>
                </a:cubicBezTo>
                <a:cubicBezTo>
                  <a:pt x="3737153" y="29564"/>
                  <a:pt x="3538393" y="21630"/>
                  <a:pt x="3446122" y="18288"/>
                </a:cubicBezTo>
                <a:cubicBezTo>
                  <a:pt x="3353851" y="14946"/>
                  <a:pt x="2990320" y="-8091"/>
                  <a:pt x="2659212" y="18288"/>
                </a:cubicBezTo>
                <a:cubicBezTo>
                  <a:pt x="2328104" y="44667"/>
                  <a:pt x="2427653" y="9607"/>
                  <a:pt x="2306460" y="18288"/>
                </a:cubicBezTo>
                <a:cubicBezTo>
                  <a:pt x="2185267" y="26969"/>
                  <a:pt x="1719763" y="3717"/>
                  <a:pt x="1519550" y="18288"/>
                </a:cubicBezTo>
                <a:cubicBezTo>
                  <a:pt x="1319337" y="32860"/>
                  <a:pt x="1167371" y="17040"/>
                  <a:pt x="1058258" y="18288"/>
                </a:cubicBezTo>
                <a:cubicBezTo>
                  <a:pt x="949145" y="19536"/>
                  <a:pt x="780234" y="31447"/>
                  <a:pt x="705505" y="18288"/>
                </a:cubicBezTo>
                <a:cubicBezTo>
                  <a:pt x="630776" y="5129"/>
                  <a:pt x="215796" y="30056"/>
                  <a:pt x="0" y="18288"/>
                </a:cubicBezTo>
                <a:cubicBezTo>
                  <a:pt x="-53" y="11301"/>
                  <a:pt x="-649" y="7756"/>
                  <a:pt x="0" y="0"/>
                </a:cubicBezTo>
                <a:close/>
              </a:path>
            </a:pathLst>
          </a:custGeom>
          <a:solidFill>
            <a:schemeClr val="accent2"/>
          </a:solidFill>
          <a:ln w="41275" cap="rnd">
            <a:solidFill>
              <a:schemeClr val="accent2"/>
            </a:solidFill>
            <a:round/>
            <a:extLst>
              <a:ext uri="{C807C97D-BFC1-408E-A445-0C87EB9F89A2}">
                <ask:lineSketchStyleProps xmlns:ask="http://schemas.microsoft.com/office/drawing/2018/sketchyshapes" sd="1219033472">
                  <a:prstGeom prst="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9FA71A85-160A-4CFF-9241-BA71D421B86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01841" y="1874786"/>
            <a:ext cx="11051959" cy="4688220"/>
          </a:xfrm>
        </p:spPr>
        <p:txBody>
          <a:bodyPr>
            <a:normAutofit lnSpcReduction="10000"/>
          </a:bodyPr>
          <a:lstStyle/>
          <a:p>
            <a:pPr marL="0" indent="0">
              <a:buNone/>
            </a:pPr>
            <a:r>
              <a:rPr lang="fr-FR" sz="15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 </a:t>
            </a:r>
          </a:p>
          <a:p>
            <a:pPr marL="0" indent="0" algn="just">
              <a:buNone/>
            </a:pPr>
            <a:r>
              <a:rPr lang="fr-FR" sz="2000" dirty="0"/>
              <a:t>Achats HT : 		150 €					Vente HT : 		400 €</a:t>
            </a:r>
          </a:p>
          <a:p>
            <a:pPr marL="0" indent="0" algn="just">
              <a:buNone/>
            </a:pPr>
            <a:r>
              <a:rPr lang="fr-FR" sz="2000" u="sng" dirty="0"/>
              <a:t>TVA déductible :	30 €	</a:t>
            </a:r>
            <a:r>
              <a:rPr lang="fr-FR" sz="2000" dirty="0"/>
              <a:t>				</a:t>
            </a:r>
            <a:r>
              <a:rPr lang="fr-FR" sz="2000" u="sng" dirty="0"/>
              <a:t>TVA collectée : 	 80 € </a:t>
            </a:r>
          </a:p>
          <a:p>
            <a:pPr marL="0" indent="0" algn="just">
              <a:buNone/>
            </a:pPr>
            <a:r>
              <a:rPr lang="fr-FR" sz="2000" dirty="0"/>
              <a:t>TTC :		180 €					TTC : 		480 € </a:t>
            </a:r>
          </a:p>
          <a:p>
            <a:pPr marL="0" indent="0" algn="just">
              <a:buNone/>
            </a:pPr>
            <a:endParaRPr lang="fr-FR" sz="2000" dirty="0"/>
          </a:p>
          <a:p>
            <a:pPr marL="0" indent="0" algn="just">
              <a:buNone/>
            </a:pPr>
            <a:r>
              <a:rPr lang="fr-FR" sz="2000" dirty="0"/>
              <a:t>Déclaration de TVA : collectée – déductible = 80 – 30 = 50 € de TVA à payer (à rendre)</a:t>
            </a:r>
          </a:p>
          <a:p>
            <a:pPr marL="0" indent="0" algn="just">
              <a:buNone/>
            </a:pPr>
            <a:endParaRPr lang="fr-FR" sz="2000" dirty="0"/>
          </a:p>
          <a:p>
            <a:pPr marL="0" indent="0" algn="just">
              <a:buNone/>
            </a:pPr>
            <a:r>
              <a:rPr lang="fr-FR" sz="2000" dirty="0"/>
              <a:t>Trésorerie = encaissé 480 et décaissé 180 € + 50 = 230 soit un solde de 250 € qui correspond bien à ma marge/valeur ajoutée ( 400 - 150)</a:t>
            </a:r>
          </a:p>
          <a:p>
            <a:pPr marL="0" indent="0" algn="just">
              <a:buNone/>
            </a:pPr>
            <a:r>
              <a:rPr lang="fr-FR" sz="2000" dirty="0">
                <a:highlight>
                  <a:srgbClr val="FFFF00"/>
                </a:highlight>
              </a:rPr>
              <a:t>Effet 1 : Neutralité</a:t>
            </a:r>
          </a:p>
          <a:p>
            <a:pPr marL="0" indent="0" algn="just">
              <a:buNone/>
            </a:pPr>
            <a:endParaRPr lang="fr-FR" sz="2000" dirty="0"/>
          </a:p>
          <a:p>
            <a:pPr marL="0" indent="0" algn="just">
              <a:buNone/>
            </a:pPr>
            <a:r>
              <a:rPr lang="fr-FR" sz="2000" dirty="0"/>
              <a:t>50 € à payer correspondent bien à marge * taux = soit (400-150) * 20 % = 50 €</a:t>
            </a:r>
          </a:p>
          <a:p>
            <a:pPr marL="0" indent="0" algn="just">
              <a:buNone/>
            </a:pPr>
            <a:r>
              <a:rPr lang="fr-FR" sz="2000" dirty="0">
                <a:highlight>
                  <a:srgbClr val="FFFF00"/>
                </a:highlight>
              </a:rPr>
              <a:t>Effet 2 : la TVA est bien une TAXE sur la VALEUR AJOUTEE </a:t>
            </a:r>
          </a:p>
        </p:txBody>
      </p:sp>
    </p:spTree>
    <p:extLst>
      <p:ext uri="{BB962C8B-B14F-4D97-AF65-F5344CB8AC3E}">
        <p14:creationId xmlns:p14="http://schemas.microsoft.com/office/powerpoint/2010/main" val="2413877595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8" name="Rectangle 87">
            <a:extLst>
              <a:ext uri="{FF2B5EF4-FFF2-40B4-BE49-F238E27FC236}">
                <a16:creationId xmlns:a16="http://schemas.microsoft.com/office/drawing/2014/main" id="{16C5FA50-8D52-4617-AF91-5C7B1C8352F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44566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02517F6E-26E9-44E8-815E-774552D95FD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093496" y="618681"/>
            <a:ext cx="2613872" cy="4794567"/>
          </a:xfrm>
          <a:prstGeom prst="ellipse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z="3600">
                <a:solidFill>
                  <a:srgbClr val="FFFFFF"/>
                </a:solidFill>
              </a:rPr>
              <a:t>Merci</a:t>
            </a:r>
          </a:p>
        </p:txBody>
      </p:sp>
      <p:sp>
        <p:nvSpPr>
          <p:cNvPr id="90" name="Rounded Rectangle 9">
            <a:extLst>
              <a:ext uri="{FF2B5EF4-FFF2-40B4-BE49-F238E27FC236}">
                <a16:creationId xmlns:a16="http://schemas.microsoft.com/office/drawing/2014/main" id="{E223798C-12AD-4B0C-A50C-D676347D67C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93354" y="484632"/>
            <a:ext cx="8129016" cy="5724144"/>
          </a:xfrm>
          <a:prstGeom prst="roundRect">
            <a:avLst>
              <a:gd name="adj" fmla="val 0"/>
            </a:avLst>
          </a:prstGeom>
          <a:solidFill>
            <a:srgbClr val="FFFFFF"/>
          </a:solidFill>
          <a:ln w="9525">
            <a:solidFill>
              <a:srgbClr val="C8CACA"/>
            </a:solidFill>
          </a:ln>
          <a:effectLst>
            <a:outerShdw blurRad="57150" dist="19050" dir="5400000" algn="t" rotWithShape="0">
              <a:prstClr val="black">
                <a:alpha val="63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6" name="Picture 35">
            <a:extLst>
              <a:ext uri="{FF2B5EF4-FFF2-40B4-BE49-F238E27FC236}">
                <a16:creationId xmlns:a16="http://schemas.microsoft.com/office/drawing/2014/main" id="{FC9EF324-339C-4E46-9508-BF0C86AAC793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5"/>
              </a:ext>
            </a:extLst>
          </a:blip>
          <a:srcRect l="5579" r="5579"/>
          <a:stretch/>
        </p:blipFill>
        <p:spPr>
          <a:xfrm>
            <a:off x="976251" y="942538"/>
            <a:ext cx="7163222" cy="4808332"/>
          </a:xfrm>
          <a:prstGeom prst="rect">
            <a:avLst/>
          </a:prstGeom>
          <a:effectLst/>
        </p:spPr>
      </p:pic>
      <p:sp>
        <p:nvSpPr>
          <p:cNvPr id="4" name="ZoneTexte 3">
            <a:extLst>
              <a:ext uri="{FF2B5EF4-FFF2-40B4-BE49-F238E27FC236}">
                <a16:creationId xmlns:a16="http://schemas.microsoft.com/office/drawing/2014/main" id="{AE196125-F657-4A8D-BF6F-9D35E2A19BAA}"/>
              </a:ext>
            </a:extLst>
          </p:cNvPr>
          <p:cNvSpPr txBox="1"/>
          <p:nvPr/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fr-FR" dirty="0"/>
          </a:p>
        </p:txBody>
      </p:sp>
      <p:sp>
        <p:nvSpPr>
          <p:cNvPr id="23" name="ZoneTexte 2">
            <a:extLst>
              <a:ext uri="{FF2B5EF4-FFF2-40B4-BE49-F238E27FC236}">
                <a16:creationId xmlns:a16="http://schemas.microsoft.com/office/drawing/2014/main" id="{61BA051E-0D20-4CC3-9958-C0CFDE297C40}"/>
              </a:ext>
            </a:extLst>
          </p:cNvPr>
          <p:cNvSpPr txBox="1"/>
          <p:nvPr/>
        </p:nvSpPr>
        <p:spPr>
          <a:xfrm>
            <a:off x="1179226" y="3092970"/>
            <a:ext cx="9833548" cy="269397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fr-FR" sz="2000" dirty="0">
              <a:solidFill>
                <a:srgbClr val="000000"/>
              </a:solidFill>
            </a:endParaRPr>
          </a:p>
          <a:p>
            <a:pPr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fr-FR" sz="2000" dirty="0">
              <a:solidFill>
                <a:srgbClr val="000000"/>
              </a:solidFill>
            </a:endParaRPr>
          </a:p>
          <a:p>
            <a:pPr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fr-FR" sz="2000" dirty="0">
              <a:solidFill>
                <a:srgbClr val="000000"/>
              </a:solidFill>
            </a:endParaRPr>
          </a:p>
        </p:txBody>
      </p:sp>
      <p:grpSp>
        <p:nvGrpSpPr>
          <p:cNvPr id="7" name="Award2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471C68EA-2299-4048-9768-29BE3CCCA72D}"/>
              </a:ext>
            </a:extLst>
          </p:cNvPr>
          <p:cNvGrpSpPr>
            <a:grpSpLocks noChangeAspect="1"/>
          </p:cNvGrpSpPr>
          <p:nvPr>
            <p:custDataLst>
              <p:tags r:id="rId1"/>
            </p:custDataLst>
          </p:nvPr>
        </p:nvGrpSpPr>
        <p:grpSpPr>
          <a:xfrm>
            <a:off x="0" y="0"/>
            <a:ext cx="344587" cy="542925"/>
            <a:chOff x="2585735" y="108789"/>
            <a:chExt cx="344587" cy="542925"/>
          </a:xfrm>
        </p:grpSpPr>
        <p:sp>
          <p:nvSpPr>
            <p:cNvPr id="8" name="Freeform: Shape 206">
              <a:extLst>
                <a:ext uri="{FF2B5EF4-FFF2-40B4-BE49-F238E27FC236}">
                  <a16:creationId xmlns:a16="http://schemas.microsoft.com/office/drawing/2014/main" id="{F1582718-4360-43D7-8A82-7C736EEF1575}"/>
                </a:ext>
              </a:extLst>
            </p:cNvPr>
            <p:cNvSpPr>
              <a:spLocks/>
            </p:cNvSpPr>
            <p:nvPr/>
          </p:nvSpPr>
          <p:spPr bwMode="auto">
            <a:xfrm>
              <a:off x="2585735" y="108789"/>
              <a:ext cx="344587" cy="344988"/>
            </a:xfrm>
            <a:custGeom>
              <a:avLst/>
              <a:gdLst>
                <a:gd name="connsiteX0" fmla="*/ 167961 w 344587"/>
                <a:gd name="connsiteY0" fmla="*/ 276672 h 344988"/>
                <a:gd name="connsiteX1" fmla="*/ 168781 w 344587"/>
                <a:gd name="connsiteY1" fmla="*/ 281441 h 344988"/>
                <a:gd name="connsiteX2" fmla="*/ 165282 w 344587"/>
                <a:gd name="connsiteY2" fmla="*/ 284827 h 344988"/>
                <a:gd name="connsiteX3" fmla="*/ 170121 w 344587"/>
                <a:gd name="connsiteY3" fmla="*/ 285532 h 344988"/>
                <a:gd name="connsiteX4" fmla="*/ 172307 w 344587"/>
                <a:gd name="connsiteY4" fmla="*/ 289894 h 344988"/>
                <a:gd name="connsiteX5" fmla="*/ 174467 w 344587"/>
                <a:gd name="connsiteY5" fmla="*/ 285532 h 344988"/>
                <a:gd name="connsiteX6" fmla="*/ 179306 w 344587"/>
                <a:gd name="connsiteY6" fmla="*/ 284827 h 344988"/>
                <a:gd name="connsiteX7" fmla="*/ 175806 w 344587"/>
                <a:gd name="connsiteY7" fmla="*/ 281441 h 344988"/>
                <a:gd name="connsiteX8" fmla="*/ 176627 w 344587"/>
                <a:gd name="connsiteY8" fmla="*/ 276672 h 344988"/>
                <a:gd name="connsiteX9" fmla="*/ 172307 w 344587"/>
                <a:gd name="connsiteY9" fmla="*/ 278921 h 344988"/>
                <a:gd name="connsiteX10" fmla="*/ 194527 w 344587"/>
                <a:gd name="connsiteY10" fmla="*/ 274468 h 344988"/>
                <a:gd name="connsiteX11" fmla="*/ 190704 w 344587"/>
                <a:gd name="connsiteY11" fmla="*/ 277391 h 344988"/>
                <a:gd name="connsiteX12" fmla="*/ 186127 w 344587"/>
                <a:gd name="connsiteY12" fmla="*/ 275943 h 344988"/>
                <a:gd name="connsiteX13" fmla="*/ 187742 w 344587"/>
                <a:gd name="connsiteY13" fmla="*/ 280475 h 344988"/>
                <a:gd name="connsiteX14" fmla="*/ 184915 w 344587"/>
                <a:gd name="connsiteY14" fmla="*/ 284363 h 344988"/>
                <a:gd name="connsiteX15" fmla="*/ 189761 w 344587"/>
                <a:gd name="connsiteY15" fmla="*/ 284229 h 344988"/>
                <a:gd name="connsiteX16" fmla="*/ 192615 w 344587"/>
                <a:gd name="connsiteY16" fmla="*/ 288091 h 344988"/>
                <a:gd name="connsiteX17" fmla="*/ 193961 w 344587"/>
                <a:gd name="connsiteY17" fmla="*/ 283479 h 344988"/>
                <a:gd name="connsiteX18" fmla="*/ 198538 w 344587"/>
                <a:gd name="connsiteY18" fmla="*/ 281977 h 344988"/>
                <a:gd name="connsiteX19" fmla="*/ 194554 w 344587"/>
                <a:gd name="connsiteY19" fmla="*/ 279268 h 344988"/>
                <a:gd name="connsiteX20" fmla="*/ 149919 w 344587"/>
                <a:gd name="connsiteY20" fmla="*/ 274468 h 344988"/>
                <a:gd name="connsiteX21" fmla="*/ 149892 w 344587"/>
                <a:gd name="connsiteY21" fmla="*/ 279268 h 344988"/>
                <a:gd name="connsiteX22" fmla="*/ 145849 w 344587"/>
                <a:gd name="connsiteY22" fmla="*/ 281977 h 344988"/>
                <a:gd name="connsiteX23" fmla="*/ 150493 w 344587"/>
                <a:gd name="connsiteY23" fmla="*/ 283479 h 344988"/>
                <a:gd name="connsiteX24" fmla="*/ 151859 w 344587"/>
                <a:gd name="connsiteY24" fmla="*/ 288091 h 344988"/>
                <a:gd name="connsiteX25" fmla="*/ 154755 w 344587"/>
                <a:gd name="connsiteY25" fmla="*/ 284229 h 344988"/>
                <a:gd name="connsiteX26" fmla="*/ 159672 w 344587"/>
                <a:gd name="connsiteY26" fmla="*/ 284363 h 344988"/>
                <a:gd name="connsiteX27" fmla="*/ 156804 w 344587"/>
                <a:gd name="connsiteY27" fmla="*/ 280475 h 344988"/>
                <a:gd name="connsiteX28" fmla="*/ 158443 w 344587"/>
                <a:gd name="connsiteY28" fmla="*/ 275943 h 344988"/>
                <a:gd name="connsiteX29" fmla="*/ 153798 w 344587"/>
                <a:gd name="connsiteY29" fmla="*/ 277391 h 344988"/>
                <a:gd name="connsiteX30" fmla="*/ 211844 w 344587"/>
                <a:gd name="connsiteY30" fmla="*/ 268858 h 344988"/>
                <a:gd name="connsiteX31" fmla="*/ 208584 w 344587"/>
                <a:gd name="connsiteY31" fmla="*/ 272467 h 344988"/>
                <a:gd name="connsiteX32" fmla="*/ 203747 w 344587"/>
                <a:gd name="connsiteY32" fmla="*/ 271811 h 344988"/>
                <a:gd name="connsiteX33" fmla="*/ 206165 w 344587"/>
                <a:gd name="connsiteY33" fmla="*/ 276075 h 344988"/>
                <a:gd name="connsiteX34" fmla="*/ 204046 w 344587"/>
                <a:gd name="connsiteY34" fmla="*/ 280504 h 344988"/>
                <a:gd name="connsiteX35" fmla="*/ 208828 w 344587"/>
                <a:gd name="connsiteY35" fmla="*/ 279492 h 344988"/>
                <a:gd name="connsiteX36" fmla="*/ 212334 w 344587"/>
                <a:gd name="connsiteY36" fmla="*/ 282882 h 344988"/>
                <a:gd name="connsiteX37" fmla="*/ 212877 w 344587"/>
                <a:gd name="connsiteY37" fmla="*/ 278016 h 344988"/>
                <a:gd name="connsiteX38" fmla="*/ 217170 w 344587"/>
                <a:gd name="connsiteY38" fmla="*/ 275693 h 344988"/>
                <a:gd name="connsiteX39" fmla="*/ 212714 w 344587"/>
                <a:gd name="connsiteY39" fmla="*/ 273670 h 344988"/>
                <a:gd name="connsiteX40" fmla="*/ 132663 w 344587"/>
                <a:gd name="connsiteY40" fmla="*/ 268858 h 344988"/>
                <a:gd name="connsiteX41" fmla="*/ 131807 w 344587"/>
                <a:gd name="connsiteY41" fmla="*/ 273670 h 344988"/>
                <a:gd name="connsiteX42" fmla="*/ 127417 w 344587"/>
                <a:gd name="connsiteY42" fmla="*/ 275693 h 344988"/>
                <a:gd name="connsiteX43" fmla="*/ 131646 w 344587"/>
                <a:gd name="connsiteY43" fmla="*/ 278016 h 344988"/>
                <a:gd name="connsiteX44" fmla="*/ 132182 w 344587"/>
                <a:gd name="connsiteY44" fmla="*/ 282882 h 344988"/>
                <a:gd name="connsiteX45" fmla="*/ 135635 w 344587"/>
                <a:gd name="connsiteY45" fmla="*/ 279492 h 344988"/>
                <a:gd name="connsiteX46" fmla="*/ 140345 w 344587"/>
                <a:gd name="connsiteY46" fmla="*/ 280504 h 344988"/>
                <a:gd name="connsiteX47" fmla="*/ 138258 w 344587"/>
                <a:gd name="connsiteY47" fmla="*/ 276075 h 344988"/>
                <a:gd name="connsiteX48" fmla="*/ 140640 w 344587"/>
                <a:gd name="connsiteY48" fmla="*/ 271811 h 344988"/>
                <a:gd name="connsiteX49" fmla="*/ 135875 w 344587"/>
                <a:gd name="connsiteY49" fmla="*/ 272467 h 344988"/>
                <a:gd name="connsiteX50" fmla="*/ 228015 w 344587"/>
                <a:gd name="connsiteY50" fmla="*/ 260644 h 344988"/>
                <a:gd name="connsiteX51" fmla="*/ 225418 w 344587"/>
                <a:gd name="connsiteY51" fmla="*/ 264769 h 344988"/>
                <a:gd name="connsiteX52" fmla="*/ 220576 w 344587"/>
                <a:gd name="connsiteY52" fmla="*/ 264959 h 344988"/>
                <a:gd name="connsiteX53" fmla="*/ 223687 w 344587"/>
                <a:gd name="connsiteY53" fmla="*/ 268704 h 344988"/>
                <a:gd name="connsiteX54" fmla="*/ 222361 w 344587"/>
                <a:gd name="connsiteY54" fmla="*/ 273372 h 344988"/>
                <a:gd name="connsiteX55" fmla="*/ 226879 w 344587"/>
                <a:gd name="connsiteY55" fmla="*/ 271581 h 344988"/>
                <a:gd name="connsiteX56" fmla="*/ 230910 w 344587"/>
                <a:gd name="connsiteY56" fmla="*/ 274268 h 344988"/>
                <a:gd name="connsiteX57" fmla="*/ 230585 w 344587"/>
                <a:gd name="connsiteY57" fmla="*/ 269410 h 344988"/>
                <a:gd name="connsiteX58" fmla="*/ 234399 w 344587"/>
                <a:gd name="connsiteY58" fmla="*/ 266398 h 344988"/>
                <a:gd name="connsiteX59" fmla="*/ 229692 w 344587"/>
                <a:gd name="connsiteY59" fmla="*/ 265204 h 344988"/>
                <a:gd name="connsiteX60" fmla="*/ 116572 w 344587"/>
                <a:gd name="connsiteY60" fmla="*/ 260644 h 344988"/>
                <a:gd name="connsiteX61" fmla="*/ 114895 w 344587"/>
                <a:gd name="connsiteY61" fmla="*/ 265204 h 344988"/>
                <a:gd name="connsiteX62" fmla="*/ 110188 w 344587"/>
                <a:gd name="connsiteY62" fmla="*/ 266398 h 344988"/>
                <a:gd name="connsiteX63" fmla="*/ 114002 w 344587"/>
                <a:gd name="connsiteY63" fmla="*/ 269410 h 344988"/>
                <a:gd name="connsiteX64" fmla="*/ 113678 w 344587"/>
                <a:gd name="connsiteY64" fmla="*/ 274268 h 344988"/>
                <a:gd name="connsiteX65" fmla="*/ 117708 w 344587"/>
                <a:gd name="connsiteY65" fmla="*/ 271581 h 344988"/>
                <a:gd name="connsiteX66" fmla="*/ 122226 w 344587"/>
                <a:gd name="connsiteY66" fmla="*/ 273372 h 344988"/>
                <a:gd name="connsiteX67" fmla="*/ 120900 w 344587"/>
                <a:gd name="connsiteY67" fmla="*/ 268704 h 344988"/>
                <a:gd name="connsiteX68" fmla="*/ 124011 w 344587"/>
                <a:gd name="connsiteY68" fmla="*/ 264959 h 344988"/>
                <a:gd name="connsiteX69" fmla="*/ 119169 w 344587"/>
                <a:gd name="connsiteY69" fmla="*/ 264769 h 344988"/>
                <a:gd name="connsiteX70" fmla="*/ 242363 w 344587"/>
                <a:gd name="connsiteY70" fmla="*/ 249625 h 344988"/>
                <a:gd name="connsiteX71" fmla="*/ 240527 w 344587"/>
                <a:gd name="connsiteY71" fmla="*/ 254100 h 344988"/>
                <a:gd name="connsiteX72" fmla="*/ 235802 w 344587"/>
                <a:gd name="connsiteY72" fmla="*/ 255124 h 344988"/>
                <a:gd name="connsiteX73" fmla="*/ 239501 w 344587"/>
                <a:gd name="connsiteY73" fmla="*/ 258251 h 344988"/>
                <a:gd name="connsiteX74" fmla="*/ 239015 w 344587"/>
                <a:gd name="connsiteY74" fmla="*/ 263048 h 344988"/>
                <a:gd name="connsiteX75" fmla="*/ 243119 w 344587"/>
                <a:gd name="connsiteY75" fmla="*/ 260515 h 344988"/>
                <a:gd name="connsiteX76" fmla="*/ 247546 w 344587"/>
                <a:gd name="connsiteY76" fmla="*/ 262455 h 344988"/>
                <a:gd name="connsiteX77" fmla="*/ 246413 w 344587"/>
                <a:gd name="connsiteY77" fmla="*/ 257766 h 344988"/>
                <a:gd name="connsiteX78" fmla="*/ 249625 w 344587"/>
                <a:gd name="connsiteY78" fmla="*/ 254154 h 344988"/>
                <a:gd name="connsiteX79" fmla="*/ 244792 w 344587"/>
                <a:gd name="connsiteY79" fmla="*/ 253776 h 344988"/>
                <a:gd name="connsiteX80" fmla="*/ 102024 w 344587"/>
                <a:gd name="connsiteY80" fmla="*/ 249625 h 344988"/>
                <a:gd name="connsiteX81" fmla="*/ 99594 w 344587"/>
                <a:gd name="connsiteY81" fmla="*/ 253776 h 344988"/>
                <a:gd name="connsiteX82" fmla="*/ 94762 w 344587"/>
                <a:gd name="connsiteY82" fmla="*/ 254154 h 344988"/>
                <a:gd name="connsiteX83" fmla="*/ 97975 w 344587"/>
                <a:gd name="connsiteY83" fmla="*/ 257766 h 344988"/>
                <a:gd name="connsiteX84" fmla="*/ 96841 w 344587"/>
                <a:gd name="connsiteY84" fmla="*/ 262455 h 344988"/>
                <a:gd name="connsiteX85" fmla="*/ 101268 w 344587"/>
                <a:gd name="connsiteY85" fmla="*/ 260515 h 344988"/>
                <a:gd name="connsiteX86" fmla="*/ 105372 w 344587"/>
                <a:gd name="connsiteY86" fmla="*/ 263048 h 344988"/>
                <a:gd name="connsiteX87" fmla="*/ 104886 w 344587"/>
                <a:gd name="connsiteY87" fmla="*/ 258251 h 344988"/>
                <a:gd name="connsiteX88" fmla="*/ 108585 w 344587"/>
                <a:gd name="connsiteY88" fmla="*/ 255124 h 344988"/>
                <a:gd name="connsiteX89" fmla="*/ 103860 w 344587"/>
                <a:gd name="connsiteY89" fmla="*/ 254100 h 344988"/>
                <a:gd name="connsiteX90" fmla="*/ 254712 w 344587"/>
                <a:gd name="connsiteY90" fmla="*/ 236203 h 344988"/>
                <a:gd name="connsiteX91" fmla="*/ 253690 w 344587"/>
                <a:gd name="connsiteY91" fmla="*/ 240928 h 344988"/>
                <a:gd name="connsiteX92" fmla="*/ 249225 w 344587"/>
                <a:gd name="connsiteY92" fmla="*/ 242764 h 344988"/>
                <a:gd name="connsiteX93" fmla="*/ 253394 w 344587"/>
                <a:gd name="connsiteY93" fmla="*/ 245220 h 344988"/>
                <a:gd name="connsiteX94" fmla="*/ 253771 w 344587"/>
                <a:gd name="connsiteY94" fmla="*/ 250026 h 344988"/>
                <a:gd name="connsiteX95" fmla="*/ 257348 w 344587"/>
                <a:gd name="connsiteY95" fmla="*/ 246813 h 344988"/>
                <a:gd name="connsiteX96" fmla="*/ 262056 w 344587"/>
                <a:gd name="connsiteY96" fmla="*/ 247974 h 344988"/>
                <a:gd name="connsiteX97" fmla="*/ 260119 w 344587"/>
                <a:gd name="connsiteY97" fmla="*/ 243520 h 344988"/>
                <a:gd name="connsiteX98" fmla="*/ 262648 w 344587"/>
                <a:gd name="connsiteY98" fmla="*/ 239416 h 344988"/>
                <a:gd name="connsiteX99" fmla="*/ 257833 w 344587"/>
                <a:gd name="connsiteY99" fmla="*/ 239902 h 344988"/>
                <a:gd name="connsiteX100" fmla="*/ 89793 w 344587"/>
                <a:gd name="connsiteY100" fmla="*/ 236203 h 344988"/>
                <a:gd name="connsiteX101" fmla="*/ 86626 w 344587"/>
                <a:gd name="connsiteY101" fmla="*/ 239902 h 344988"/>
                <a:gd name="connsiteX102" fmla="*/ 81739 w 344587"/>
                <a:gd name="connsiteY102" fmla="*/ 239416 h 344988"/>
                <a:gd name="connsiteX103" fmla="*/ 84333 w 344587"/>
                <a:gd name="connsiteY103" fmla="*/ 243520 h 344988"/>
                <a:gd name="connsiteX104" fmla="*/ 82340 w 344587"/>
                <a:gd name="connsiteY104" fmla="*/ 247974 h 344988"/>
                <a:gd name="connsiteX105" fmla="*/ 87118 w 344587"/>
                <a:gd name="connsiteY105" fmla="*/ 246813 h 344988"/>
                <a:gd name="connsiteX106" fmla="*/ 90749 w 344587"/>
                <a:gd name="connsiteY106" fmla="*/ 250026 h 344988"/>
                <a:gd name="connsiteX107" fmla="*/ 91131 w 344587"/>
                <a:gd name="connsiteY107" fmla="*/ 245220 h 344988"/>
                <a:gd name="connsiteX108" fmla="*/ 95363 w 344587"/>
                <a:gd name="connsiteY108" fmla="*/ 242764 h 344988"/>
                <a:gd name="connsiteX109" fmla="*/ 90831 w 344587"/>
                <a:gd name="connsiteY109" fmla="*/ 240928 h 344988"/>
                <a:gd name="connsiteX110" fmla="*/ 264558 w 344587"/>
                <a:gd name="connsiteY110" fmla="*/ 220977 h 344988"/>
                <a:gd name="connsiteX111" fmla="*/ 264341 w 344587"/>
                <a:gd name="connsiteY111" fmla="*/ 225819 h 344988"/>
                <a:gd name="connsiteX112" fmla="*/ 260243 w 344587"/>
                <a:gd name="connsiteY112" fmla="*/ 228416 h 344988"/>
                <a:gd name="connsiteX113" fmla="*/ 264803 w 344587"/>
                <a:gd name="connsiteY113" fmla="*/ 230093 h 344988"/>
                <a:gd name="connsiteX114" fmla="*/ 265997 w 344587"/>
                <a:gd name="connsiteY114" fmla="*/ 234800 h 344988"/>
                <a:gd name="connsiteX115" fmla="*/ 269009 w 344587"/>
                <a:gd name="connsiteY115" fmla="*/ 230986 h 344988"/>
                <a:gd name="connsiteX116" fmla="*/ 273867 w 344587"/>
                <a:gd name="connsiteY116" fmla="*/ 231311 h 344988"/>
                <a:gd name="connsiteX117" fmla="*/ 271180 w 344587"/>
                <a:gd name="connsiteY117" fmla="*/ 227280 h 344988"/>
                <a:gd name="connsiteX118" fmla="*/ 272971 w 344587"/>
                <a:gd name="connsiteY118" fmla="*/ 222762 h 344988"/>
                <a:gd name="connsiteX119" fmla="*/ 268276 w 344587"/>
                <a:gd name="connsiteY119" fmla="*/ 224088 h 344988"/>
                <a:gd name="connsiteX120" fmla="*/ 80029 w 344587"/>
                <a:gd name="connsiteY120" fmla="*/ 220977 h 344988"/>
                <a:gd name="connsiteX121" fmla="*/ 76311 w 344587"/>
                <a:gd name="connsiteY121" fmla="*/ 224088 h 344988"/>
                <a:gd name="connsiteX122" fmla="*/ 71616 w 344587"/>
                <a:gd name="connsiteY122" fmla="*/ 222762 h 344988"/>
                <a:gd name="connsiteX123" fmla="*/ 73407 w 344587"/>
                <a:gd name="connsiteY123" fmla="*/ 227280 h 344988"/>
                <a:gd name="connsiteX124" fmla="*/ 70721 w 344587"/>
                <a:gd name="connsiteY124" fmla="*/ 231311 h 344988"/>
                <a:gd name="connsiteX125" fmla="*/ 75578 w 344587"/>
                <a:gd name="connsiteY125" fmla="*/ 230986 h 344988"/>
                <a:gd name="connsiteX126" fmla="*/ 78590 w 344587"/>
                <a:gd name="connsiteY126" fmla="*/ 234800 h 344988"/>
                <a:gd name="connsiteX127" fmla="*/ 79785 w 344587"/>
                <a:gd name="connsiteY127" fmla="*/ 230093 h 344988"/>
                <a:gd name="connsiteX128" fmla="*/ 84344 w 344587"/>
                <a:gd name="connsiteY128" fmla="*/ 228416 h 344988"/>
                <a:gd name="connsiteX129" fmla="*/ 80246 w 344587"/>
                <a:gd name="connsiteY129" fmla="*/ 225819 h 344988"/>
                <a:gd name="connsiteX130" fmla="*/ 271410 w 344587"/>
                <a:gd name="connsiteY130" fmla="*/ 204148 h 344988"/>
                <a:gd name="connsiteX131" fmla="*/ 272066 w 344587"/>
                <a:gd name="connsiteY131" fmla="*/ 208985 h 344988"/>
                <a:gd name="connsiteX132" fmla="*/ 268457 w 344587"/>
                <a:gd name="connsiteY132" fmla="*/ 212245 h 344988"/>
                <a:gd name="connsiteX133" fmla="*/ 273269 w 344587"/>
                <a:gd name="connsiteY133" fmla="*/ 213115 h 344988"/>
                <a:gd name="connsiteX134" fmla="*/ 275292 w 344587"/>
                <a:gd name="connsiteY134" fmla="*/ 217571 h 344988"/>
                <a:gd name="connsiteX135" fmla="*/ 277615 w 344587"/>
                <a:gd name="connsiteY135" fmla="*/ 213278 h 344988"/>
                <a:gd name="connsiteX136" fmla="*/ 282481 w 344587"/>
                <a:gd name="connsiteY136" fmla="*/ 212734 h 344988"/>
                <a:gd name="connsiteX137" fmla="*/ 279091 w 344587"/>
                <a:gd name="connsiteY137" fmla="*/ 209229 h 344988"/>
                <a:gd name="connsiteX138" fmla="*/ 280076 w 344587"/>
                <a:gd name="connsiteY138" fmla="*/ 204447 h 344988"/>
                <a:gd name="connsiteX139" fmla="*/ 275674 w 344587"/>
                <a:gd name="connsiteY139" fmla="*/ 206566 h 344988"/>
                <a:gd name="connsiteX140" fmla="*/ 73019 w 344587"/>
                <a:gd name="connsiteY140" fmla="*/ 204148 h 344988"/>
                <a:gd name="connsiteX141" fmla="*/ 68816 w 344587"/>
                <a:gd name="connsiteY141" fmla="*/ 206566 h 344988"/>
                <a:gd name="connsiteX142" fmla="*/ 64477 w 344587"/>
                <a:gd name="connsiteY142" fmla="*/ 204447 h 344988"/>
                <a:gd name="connsiteX143" fmla="*/ 65447 w 344587"/>
                <a:gd name="connsiteY143" fmla="*/ 209229 h 344988"/>
                <a:gd name="connsiteX144" fmla="*/ 62106 w 344587"/>
                <a:gd name="connsiteY144" fmla="*/ 212734 h 344988"/>
                <a:gd name="connsiteX145" fmla="*/ 66903 w 344587"/>
                <a:gd name="connsiteY145" fmla="*/ 213278 h 344988"/>
                <a:gd name="connsiteX146" fmla="*/ 69193 w 344587"/>
                <a:gd name="connsiteY146" fmla="*/ 217571 h 344988"/>
                <a:gd name="connsiteX147" fmla="*/ 71187 w 344587"/>
                <a:gd name="connsiteY147" fmla="*/ 213115 h 344988"/>
                <a:gd name="connsiteX148" fmla="*/ 75929 w 344587"/>
                <a:gd name="connsiteY148" fmla="*/ 212245 h 344988"/>
                <a:gd name="connsiteX149" fmla="*/ 72373 w 344587"/>
                <a:gd name="connsiteY149" fmla="*/ 208985 h 344988"/>
                <a:gd name="connsiteX150" fmla="*/ 283915 w 344587"/>
                <a:gd name="connsiteY150" fmla="*/ 185116 h 344988"/>
                <a:gd name="connsiteX151" fmla="*/ 279950 w 344587"/>
                <a:gd name="connsiteY151" fmla="*/ 187963 h 344988"/>
                <a:gd name="connsiteX152" fmla="*/ 275388 w 344587"/>
                <a:gd name="connsiteY152" fmla="*/ 186320 h 344988"/>
                <a:gd name="connsiteX153" fmla="*/ 276854 w 344587"/>
                <a:gd name="connsiteY153" fmla="*/ 191001 h 344988"/>
                <a:gd name="connsiteX154" fmla="*/ 273867 w 344587"/>
                <a:gd name="connsiteY154" fmla="*/ 194861 h 344988"/>
                <a:gd name="connsiteX155" fmla="*/ 278755 w 344587"/>
                <a:gd name="connsiteY155" fmla="*/ 194888 h 344988"/>
                <a:gd name="connsiteX156" fmla="*/ 281498 w 344587"/>
                <a:gd name="connsiteY156" fmla="*/ 198939 h 344988"/>
                <a:gd name="connsiteX157" fmla="*/ 283019 w 344587"/>
                <a:gd name="connsiteY157" fmla="*/ 194286 h 344988"/>
                <a:gd name="connsiteX158" fmla="*/ 287690 w 344587"/>
                <a:gd name="connsiteY158" fmla="*/ 192917 h 344988"/>
                <a:gd name="connsiteX159" fmla="*/ 283780 w 344587"/>
                <a:gd name="connsiteY159" fmla="*/ 190015 h 344988"/>
                <a:gd name="connsiteX160" fmla="*/ 60472 w 344587"/>
                <a:gd name="connsiteY160" fmla="*/ 185116 h 344988"/>
                <a:gd name="connsiteX161" fmla="*/ 60608 w 344587"/>
                <a:gd name="connsiteY161" fmla="*/ 190015 h 344988"/>
                <a:gd name="connsiteX162" fmla="*/ 56697 w 344587"/>
                <a:gd name="connsiteY162" fmla="*/ 192917 h 344988"/>
                <a:gd name="connsiteX163" fmla="*/ 61368 w 344587"/>
                <a:gd name="connsiteY163" fmla="*/ 194286 h 344988"/>
                <a:gd name="connsiteX164" fmla="*/ 62889 w 344587"/>
                <a:gd name="connsiteY164" fmla="*/ 198939 h 344988"/>
                <a:gd name="connsiteX165" fmla="*/ 65632 w 344587"/>
                <a:gd name="connsiteY165" fmla="*/ 194888 h 344988"/>
                <a:gd name="connsiteX166" fmla="*/ 70520 w 344587"/>
                <a:gd name="connsiteY166" fmla="*/ 194861 h 344988"/>
                <a:gd name="connsiteX167" fmla="*/ 67533 w 344587"/>
                <a:gd name="connsiteY167" fmla="*/ 191001 h 344988"/>
                <a:gd name="connsiteX168" fmla="*/ 68999 w 344587"/>
                <a:gd name="connsiteY168" fmla="*/ 186320 h 344988"/>
                <a:gd name="connsiteX169" fmla="*/ 64437 w 344587"/>
                <a:gd name="connsiteY169" fmla="*/ 187963 h 344988"/>
                <a:gd name="connsiteX170" fmla="*/ 284437 w 344587"/>
                <a:gd name="connsiteY170" fmla="*/ 165482 h 344988"/>
                <a:gd name="connsiteX171" fmla="*/ 281057 w 344587"/>
                <a:gd name="connsiteY171" fmla="*/ 168981 h 344988"/>
                <a:gd name="connsiteX172" fmla="*/ 276271 w 344587"/>
                <a:gd name="connsiteY172" fmla="*/ 168161 h 344988"/>
                <a:gd name="connsiteX173" fmla="*/ 278542 w 344587"/>
                <a:gd name="connsiteY173" fmla="*/ 172508 h 344988"/>
                <a:gd name="connsiteX174" fmla="*/ 276271 w 344587"/>
                <a:gd name="connsiteY174" fmla="*/ 176827 h 344988"/>
                <a:gd name="connsiteX175" fmla="*/ 281057 w 344587"/>
                <a:gd name="connsiteY175" fmla="*/ 176007 h 344988"/>
                <a:gd name="connsiteX176" fmla="*/ 284437 w 344587"/>
                <a:gd name="connsiteY176" fmla="*/ 179506 h 344988"/>
                <a:gd name="connsiteX177" fmla="*/ 285140 w 344587"/>
                <a:gd name="connsiteY177" fmla="*/ 174667 h 344988"/>
                <a:gd name="connsiteX178" fmla="*/ 289493 w 344587"/>
                <a:gd name="connsiteY178" fmla="*/ 172508 h 344988"/>
                <a:gd name="connsiteX179" fmla="*/ 285140 w 344587"/>
                <a:gd name="connsiteY179" fmla="*/ 170321 h 344988"/>
                <a:gd name="connsiteX180" fmla="*/ 60027 w 344587"/>
                <a:gd name="connsiteY180" fmla="*/ 165482 h 344988"/>
                <a:gd name="connsiteX181" fmla="*/ 59313 w 344587"/>
                <a:gd name="connsiteY181" fmla="*/ 170321 h 344988"/>
                <a:gd name="connsiteX182" fmla="*/ 54894 w 344587"/>
                <a:gd name="connsiteY182" fmla="*/ 172508 h 344988"/>
                <a:gd name="connsiteX183" fmla="*/ 59313 w 344587"/>
                <a:gd name="connsiteY183" fmla="*/ 174667 h 344988"/>
                <a:gd name="connsiteX184" fmla="*/ 60027 w 344587"/>
                <a:gd name="connsiteY184" fmla="*/ 179506 h 344988"/>
                <a:gd name="connsiteX185" fmla="*/ 63458 w 344587"/>
                <a:gd name="connsiteY185" fmla="*/ 176007 h 344988"/>
                <a:gd name="connsiteX186" fmla="*/ 68317 w 344587"/>
                <a:gd name="connsiteY186" fmla="*/ 176827 h 344988"/>
                <a:gd name="connsiteX187" fmla="*/ 66011 w 344587"/>
                <a:gd name="connsiteY187" fmla="*/ 172508 h 344988"/>
                <a:gd name="connsiteX188" fmla="*/ 68317 w 344587"/>
                <a:gd name="connsiteY188" fmla="*/ 168161 h 344988"/>
                <a:gd name="connsiteX189" fmla="*/ 63458 w 344587"/>
                <a:gd name="connsiteY189" fmla="*/ 168981 h 344988"/>
                <a:gd name="connsiteX190" fmla="*/ 281498 w 344587"/>
                <a:gd name="connsiteY190" fmla="*/ 146049 h 344988"/>
                <a:gd name="connsiteX191" fmla="*/ 278755 w 344587"/>
                <a:gd name="connsiteY191" fmla="*/ 150092 h 344988"/>
                <a:gd name="connsiteX192" fmla="*/ 273867 w 344587"/>
                <a:gd name="connsiteY192" fmla="*/ 150120 h 344988"/>
                <a:gd name="connsiteX193" fmla="*/ 276854 w 344587"/>
                <a:gd name="connsiteY193" fmla="*/ 153999 h 344988"/>
                <a:gd name="connsiteX194" fmla="*/ 275388 w 344587"/>
                <a:gd name="connsiteY194" fmla="*/ 158670 h 344988"/>
                <a:gd name="connsiteX195" fmla="*/ 279950 w 344587"/>
                <a:gd name="connsiteY195" fmla="*/ 157004 h 344988"/>
                <a:gd name="connsiteX196" fmla="*/ 283915 w 344587"/>
                <a:gd name="connsiteY196" fmla="*/ 159872 h 344988"/>
                <a:gd name="connsiteX197" fmla="*/ 283780 w 344587"/>
                <a:gd name="connsiteY197" fmla="*/ 154955 h 344988"/>
                <a:gd name="connsiteX198" fmla="*/ 287690 w 344587"/>
                <a:gd name="connsiteY198" fmla="*/ 152059 h 344988"/>
                <a:gd name="connsiteX199" fmla="*/ 283019 w 344587"/>
                <a:gd name="connsiteY199" fmla="*/ 150693 h 344988"/>
                <a:gd name="connsiteX200" fmla="*/ 62889 w 344587"/>
                <a:gd name="connsiteY200" fmla="*/ 146049 h 344988"/>
                <a:gd name="connsiteX201" fmla="*/ 61368 w 344587"/>
                <a:gd name="connsiteY201" fmla="*/ 150693 h 344988"/>
                <a:gd name="connsiteX202" fmla="*/ 56697 w 344587"/>
                <a:gd name="connsiteY202" fmla="*/ 152059 h 344988"/>
                <a:gd name="connsiteX203" fmla="*/ 60608 w 344587"/>
                <a:gd name="connsiteY203" fmla="*/ 154955 h 344988"/>
                <a:gd name="connsiteX204" fmla="*/ 60472 w 344587"/>
                <a:gd name="connsiteY204" fmla="*/ 159872 h 344988"/>
                <a:gd name="connsiteX205" fmla="*/ 64437 w 344587"/>
                <a:gd name="connsiteY205" fmla="*/ 157004 h 344988"/>
                <a:gd name="connsiteX206" fmla="*/ 68999 w 344587"/>
                <a:gd name="connsiteY206" fmla="*/ 158670 h 344988"/>
                <a:gd name="connsiteX207" fmla="*/ 67533 w 344587"/>
                <a:gd name="connsiteY207" fmla="*/ 153999 h 344988"/>
                <a:gd name="connsiteX208" fmla="*/ 70520 w 344587"/>
                <a:gd name="connsiteY208" fmla="*/ 150120 h 344988"/>
                <a:gd name="connsiteX209" fmla="*/ 65632 w 344587"/>
                <a:gd name="connsiteY209" fmla="*/ 150092 h 344988"/>
                <a:gd name="connsiteX210" fmla="*/ 275292 w 344587"/>
                <a:gd name="connsiteY210" fmla="*/ 127618 h 344988"/>
                <a:gd name="connsiteX211" fmla="*/ 273269 w 344587"/>
                <a:gd name="connsiteY211" fmla="*/ 132007 h 344988"/>
                <a:gd name="connsiteX212" fmla="*/ 268457 w 344587"/>
                <a:gd name="connsiteY212" fmla="*/ 132864 h 344988"/>
                <a:gd name="connsiteX213" fmla="*/ 272066 w 344587"/>
                <a:gd name="connsiteY213" fmla="*/ 136103 h 344988"/>
                <a:gd name="connsiteX214" fmla="*/ 271410 w 344587"/>
                <a:gd name="connsiteY214" fmla="*/ 140840 h 344988"/>
                <a:gd name="connsiteX215" fmla="*/ 275674 w 344587"/>
                <a:gd name="connsiteY215" fmla="*/ 138458 h 344988"/>
                <a:gd name="connsiteX216" fmla="*/ 280076 w 344587"/>
                <a:gd name="connsiteY216" fmla="*/ 140546 h 344988"/>
                <a:gd name="connsiteX217" fmla="*/ 279091 w 344587"/>
                <a:gd name="connsiteY217" fmla="*/ 135862 h 344988"/>
                <a:gd name="connsiteX218" fmla="*/ 282481 w 344587"/>
                <a:gd name="connsiteY218" fmla="*/ 132382 h 344988"/>
                <a:gd name="connsiteX219" fmla="*/ 277615 w 344587"/>
                <a:gd name="connsiteY219" fmla="*/ 131847 h 344988"/>
                <a:gd name="connsiteX220" fmla="*/ 69193 w 344587"/>
                <a:gd name="connsiteY220" fmla="*/ 127618 h 344988"/>
                <a:gd name="connsiteX221" fmla="*/ 66903 w 344587"/>
                <a:gd name="connsiteY221" fmla="*/ 131847 h 344988"/>
                <a:gd name="connsiteX222" fmla="*/ 62106 w 344587"/>
                <a:gd name="connsiteY222" fmla="*/ 132382 h 344988"/>
                <a:gd name="connsiteX223" fmla="*/ 65447 w 344587"/>
                <a:gd name="connsiteY223" fmla="*/ 135862 h 344988"/>
                <a:gd name="connsiteX224" fmla="*/ 64477 w 344587"/>
                <a:gd name="connsiteY224" fmla="*/ 140546 h 344988"/>
                <a:gd name="connsiteX225" fmla="*/ 68816 w 344587"/>
                <a:gd name="connsiteY225" fmla="*/ 138458 h 344988"/>
                <a:gd name="connsiteX226" fmla="*/ 73019 w 344587"/>
                <a:gd name="connsiteY226" fmla="*/ 140840 h 344988"/>
                <a:gd name="connsiteX227" fmla="*/ 72373 w 344587"/>
                <a:gd name="connsiteY227" fmla="*/ 136103 h 344988"/>
                <a:gd name="connsiteX228" fmla="*/ 75929 w 344587"/>
                <a:gd name="connsiteY228" fmla="*/ 132864 h 344988"/>
                <a:gd name="connsiteX229" fmla="*/ 71187 w 344587"/>
                <a:gd name="connsiteY229" fmla="*/ 132007 h 344988"/>
                <a:gd name="connsiteX230" fmla="*/ 265997 w 344587"/>
                <a:gd name="connsiteY230" fmla="*/ 110188 h 344988"/>
                <a:gd name="connsiteX231" fmla="*/ 264803 w 344587"/>
                <a:gd name="connsiteY231" fmla="*/ 114963 h 344988"/>
                <a:gd name="connsiteX232" fmla="*/ 260243 w 344587"/>
                <a:gd name="connsiteY232" fmla="*/ 116665 h 344988"/>
                <a:gd name="connsiteX233" fmla="*/ 264341 w 344587"/>
                <a:gd name="connsiteY233" fmla="*/ 119299 h 344988"/>
                <a:gd name="connsiteX234" fmla="*/ 264558 w 344587"/>
                <a:gd name="connsiteY234" fmla="*/ 124212 h 344988"/>
                <a:gd name="connsiteX235" fmla="*/ 268276 w 344587"/>
                <a:gd name="connsiteY235" fmla="*/ 121083 h 344988"/>
                <a:gd name="connsiteX236" fmla="*/ 272971 w 344587"/>
                <a:gd name="connsiteY236" fmla="*/ 122401 h 344988"/>
                <a:gd name="connsiteX237" fmla="*/ 271180 w 344587"/>
                <a:gd name="connsiteY237" fmla="*/ 117845 h 344988"/>
                <a:gd name="connsiteX238" fmla="*/ 273867 w 344587"/>
                <a:gd name="connsiteY238" fmla="*/ 113756 h 344988"/>
                <a:gd name="connsiteX239" fmla="*/ 269009 w 344587"/>
                <a:gd name="connsiteY239" fmla="*/ 114057 h 344988"/>
                <a:gd name="connsiteX240" fmla="*/ 78590 w 344587"/>
                <a:gd name="connsiteY240" fmla="*/ 110188 h 344988"/>
                <a:gd name="connsiteX241" fmla="*/ 75578 w 344587"/>
                <a:gd name="connsiteY241" fmla="*/ 114057 h 344988"/>
                <a:gd name="connsiteX242" fmla="*/ 70721 w 344587"/>
                <a:gd name="connsiteY242" fmla="*/ 113756 h 344988"/>
                <a:gd name="connsiteX243" fmla="*/ 73407 w 344587"/>
                <a:gd name="connsiteY243" fmla="*/ 117845 h 344988"/>
                <a:gd name="connsiteX244" fmla="*/ 71616 w 344587"/>
                <a:gd name="connsiteY244" fmla="*/ 122401 h 344988"/>
                <a:gd name="connsiteX245" fmla="*/ 76311 w 344587"/>
                <a:gd name="connsiteY245" fmla="*/ 121083 h 344988"/>
                <a:gd name="connsiteX246" fmla="*/ 80029 w 344587"/>
                <a:gd name="connsiteY246" fmla="*/ 124212 h 344988"/>
                <a:gd name="connsiteX247" fmla="*/ 80246 w 344587"/>
                <a:gd name="connsiteY247" fmla="*/ 119299 h 344988"/>
                <a:gd name="connsiteX248" fmla="*/ 84344 w 344587"/>
                <a:gd name="connsiteY248" fmla="*/ 116665 h 344988"/>
                <a:gd name="connsiteX249" fmla="*/ 79785 w 344587"/>
                <a:gd name="connsiteY249" fmla="*/ 114963 h 344988"/>
                <a:gd name="connsiteX250" fmla="*/ 172293 w 344587"/>
                <a:gd name="connsiteY250" fmla="*/ 107507 h 344988"/>
                <a:gd name="connsiteX251" fmla="*/ 164742 w 344587"/>
                <a:gd name="connsiteY251" fmla="*/ 112163 h 344988"/>
                <a:gd name="connsiteX252" fmla="*/ 148477 w 344587"/>
                <a:gd name="connsiteY252" fmla="*/ 145335 h 344988"/>
                <a:gd name="connsiteX253" fmla="*/ 111881 w 344587"/>
                <a:gd name="connsiteY253" fmla="*/ 150766 h 344988"/>
                <a:gd name="connsiteX254" fmla="*/ 104910 w 344587"/>
                <a:gd name="connsiteY254" fmla="*/ 156392 h 344988"/>
                <a:gd name="connsiteX255" fmla="*/ 107234 w 344587"/>
                <a:gd name="connsiteY255" fmla="*/ 165121 h 344988"/>
                <a:gd name="connsiteX256" fmla="*/ 133567 w 344587"/>
                <a:gd name="connsiteY256" fmla="*/ 190922 h 344988"/>
                <a:gd name="connsiteX257" fmla="*/ 127371 w 344587"/>
                <a:gd name="connsiteY257" fmla="*/ 227392 h 344988"/>
                <a:gd name="connsiteX258" fmla="*/ 130663 w 344587"/>
                <a:gd name="connsiteY258" fmla="*/ 235733 h 344988"/>
                <a:gd name="connsiteX259" fmla="*/ 135697 w 344587"/>
                <a:gd name="connsiteY259" fmla="*/ 237479 h 344988"/>
                <a:gd name="connsiteX260" fmla="*/ 139570 w 344587"/>
                <a:gd name="connsiteY260" fmla="*/ 236509 h 344988"/>
                <a:gd name="connsiteX261" fmla="*/ 172293 w 344587"/>
                <a:gd name="connsiteY261" fmla="*/ 219244 h 344988"/>
                <a:gd name="connsiteX262" fmla="*/ 205016 w 344587"/>
                <a:gd name="connsiteY262" fmla="*/ 236509 h 344988"/>
                <a:gd name="connsiteX263" fmla="*/ 209083 w 344587"/>
                <a:gd name="connsiteY263" fmla="*/ 237479 h 344988"/>
                <a:gd name="connsiteX264" fmla="*/ 213923 w 344587"/>
                <a:gd name="connsiteY264" fmla="*/ 235733 h 344988"/>
                <a:gd name="connsiteX265" fmla="*/ 217409 w 344587"/>
                <a:gd name="connsiteY265" fmla="*/ 227392 h 344988"/>
                <a:gd name="connsiteX266" fmla="*/ 211213 w 344587"/>
                <a:gd name="connsiteY266" fmla="*/ 190922 h 344988"/>
                <a:gd name="connsiteX267" fmla="*/ 237546 w 344587"/>
                <a:gd name="connsiteY267" fmla="*/ 165121 h 344988"/>
                <a:gd name="connsiteX268" fmla="*/ 239676 w 344587"/>
                <a:gd name="connsiteY268" fmla="*/ 156392 h 344988"/>
                <a:gd name="connsiteX269" fmla="*/ 232899 w 344587"/>
                <a:gd name="connsiteY269" fmla="*/ 150766 h 344988"/>
                <a:gd name="connsiteX270" fmla="*/ 196303 w 344587"/>
                <a:gd name="connsiteY270" fmla="*/ 145335 h 344988"/>
                <a:gd name="connsiteX271" fmla="*/ 180038 w 344587"/>
                <a:gd name="connsiteY271" fmla="*/ 112163 h 344988"/>
                <a:gd name="connsiteX272" fmla="*/ 172293 w 344587"/>
                <a:gd name="connsiteY272" fmla="*/ 107507 h 344988"/>
                <a:gd name="connsiteX273" fmla="*/ 253771 w 344587"/>
                <a:gd name="connsiteY273" fmla="*/ 94962 h 344988"/>
                <a:gd name="connsiteX274" fmla="*/ 253394 w 344587"/>
                <a:gd name="connsiteY274" fmla="*/ 99795 h 344988"/>
                <a:gd name="connsiteX275" fmla="*/ 249225 w 344587"/>
                <a:gd name="connsiteY275" fmla="*/ 102225 h 344988"/>
                <a:gd name="connsiteX276" fmla="*/ 253690 w 344587"/>
                <a:gd name="connsiteY276" fmla="*/ 104061 h 344988"/>
                <a:gd name="connsiteX277" fmla="*/ 254712 w 344587"/>
                <a:gd name="connsiteY277" fmla="*/ 108785 h 344988"/>
                <a:gd name="connsiteX278" fmla="*/ 257833 w 344587"/>
                <a:gd name="connsiteY278" fmla="*/ 105114 h 344988"/>
                <a:gd name="connsiteX279" fmla="*/ 262648 w 344587"/>
                <a:gd name="connsiteY279" fmla="*/ 105573 h 344988"/>
                <a:gd name="connsiteX280" fmla="*/ 260119 w 344587"/>
                <a:gd name="connsiteY280" fmla="*/ 101469 h 344988"/>
                <a:gd name="connsiteX281" fmla="*/ 262056 w 344587"/>
                <a:gd name="connsiteY281" fmla="*/ 97041 h 344988"/>
                <a:gd name="connsiteX282" fmla="*/ 257348 w 344587"/>
                <a:gd name="connsiteY282" fmla="*/ 98175 h 344988"/>
                <a:gd name="connsiteX283" fmla="*/ 90749 w 344587"/>
                <a:gd name="connsiteY283" fmla="*/ 94962 h 344988"/>
                <a:gd name="connsiteX284" fmla="*/ 87118 w 344587"/>
                <a:gd name="connsiteY284" fmla="*/ 98175 h 344988"/>
                <a:gd name="connsiteX285" fmla="*/ 82340 w 344587"/>
                <a:gd name="connsiteY285" fmla="*/ 97041 h 344988"/>
                <a:gd name="connsiteX286" fmla="*/ 84333 w 344587"/>
                <a:gd name="connsiteY286" fmla="*/ 101469 h 344988"/>
                <a:gd name="connsiteX287" fmla="*/ 81739 w 344587"/>
                <a:gd name="connsiteY287" fmla="*/ 105573 h 344988"/>
                <a:gd name="connsiteX288" fmla="*/ 86626 w 344587"/>
                <a:gd name="connsiteY288" fmla="*/ 105114 h 344988"/>
                <a:gd name="connsiteX289" fmla="*/ 89793 w 344587"/>
                <a:gd name="connsiteY289" fmla="*/ 108785 h 344988"/>
                <a:gd name="connsiteX290" fmla="*/ 90831 w 344587"/>
                <a:gd name="connsiteY290" fmla="*/ 104061 h 344988"/>
                <a:gd name="connsiteX291" fmla="*/ 95363 w 344587"/>
                <a:gd name="connsiteY291" fmla="*/ 102225 h 344988"/>
                <a:gd name="connsiteX292" fmla="*/ 91131 w 344587"/>
                <a:gd name="connsiteY292" fmla="*/ 99795 h 344988"/>
                <a:gd name="connsiteX293" fmla="*/ 239015 w 344587"/>
                <a:gd name="connsiteY293" fmla="*/ 81940 h 344988"/>
                <a:gd name="connsiteX294" fmla="*/ 239501 w 344587"/>
                <a:gd name="connsiteY294" fmla="*/ 86827 h 344988"/>
                <a:gd name="connsiteX295" fmla="*/ 235802 w 344587"/>
                <a:gd name="connsiteY295" fmla="*/ 89993 h 344988"/>
                <a:gd name="connsiteX296" fmla="*/ 240527 w 344587"/>
                <a:gd name="connsiteY296" fmla="*/ 91031 h 344988"/>
                <a:gd name="connsiteX297" fmla="*/ 242363 w 344587"/>
                <a:gd name="connsiteY297" fmla="*/ 95563 h 344988"/>
                <a:gd name="connsiteX298" fmla="*/ 244792 w 344587"/>
                <a:gd name="connsiteY298" fmla="*/ 91331 h 344988"/>
                <a:gd name="connsiteX299" fmla="*/ 249625 w 344587"/>
                <a:gd name="connsiteY299" fmla="*/ 90976 h 344988"/>
                <a:gd name="connsiteX300" fmla="*/ 246413 w 344587"/>
                <a:gd name="connsiteY300" fmla="*/ 87318 h 344988"/>
                <a:gd name="connsiteX301" fmla="*/ 247546 w 344587"/>
                <a:gd name="connsiteY301" fmla="*/ 82568 h 344988"/>
                <a:gd name="connsiteX302" fmla="*/ 243119 w 344587"/>
                <a:gd name="connsiteY302" fmla="*/ 84533 h 344988"/>
                <a:gd name="connsiteX303" fmla="*/ 105372 w 344587"/>
                <a:gd name="connsiteY303" fmla="*/ 81940 h 344988"/>
                <a:gd name="connsiteX304" fmla="*/ 101268 w 344587"/>
                <a:gd name="connsiteY304" fmla="*/ 84533 h 344988"/>
                <a:gd name="connsiteX305" fmla="*/ 96841 w 344587"/>
                <a:gd name="connsiteY305" fmla="*/ 82568 h 344988"/>
                <a:gd name="connsiteX306" fmla="*/ 97975 w 344587"/>
                <a:gd name="connsiteY306" fmla="*/ 87318 h 344988"/>
                <a:gd name="connsiteX307" fmla="*/ 94762 w 344587"/>
                <a:gd name="connsiteY307" fmla="*/ 90976 h 344988"/>
                <a:gd name="connsiteX308" fmla="*/ 99594 w 344587"/>
                <a:gd name="connsiteY308" fmla="*/ 91331 h 344988"/>
                <a:gd name="connsiteX309" fmla="*/ 102024 w 344587"/>
                <a:gd name="connsiteY309" fmla="*/ 95563 h 344988"/>
                <a:gd name="connsiteX310" fmla="*/ 103860 w 344587"/>
                <a:gd name="connsiteY310" fmla="*/ 91031 h 344988"/>
                <a:gd name="connsiteX311" fmla="*/ 108585 w 344587"/>
                <a:gd name="connsiteY311" fmla="*/ 89993 h 344988"/>
                <a:gd name="connsiteX312" fmla="*/ 104886 w 344587"/>
                <a:gd name="connsiteY312" fmla="*/ 86827 h 344988"/>
                <a:gd name="connsiteX313" fmla="*/ 230910 w 344587"/>
                <a:gd name="connsiteY313" fmla="*/ 70720 h 344988"/>
                <a:gd name="connsiteX314" fmla="*/ 226879 w 344587"/>
                <a:gd name="connsiteY314" fmla="*/ 73474 h 344988"/>
                <a:gd name="connsiteX315" fmla="*/ 222361 w 344587"/>
                <a:gd name="connsiteY315" fmla="*/ 71629 h 344988"/>
                <a:gd name="connsiteX316" fmla="*/ 223687 w 344587"/>
                <a:gd name="connsiteY316" fmla="*/ 76393 h 344988"/>
                <a:gd name="connsiteX317" fmla="*/ 220576 w 344587"/>
                <a:gd name="connsiteY317" fmla="*/ 80193 h 344988"/>
                <a:gd name="connsiteX318" fmla="*/ 225418 w 344587"/>
                <a:gd name="connsiteY318" fmla="*/ 80386 h 344988"/>
                <a:gd name="connsiteX319" fmla="*/ 228015 w 344587"/>
                <a:gd name="connsiteY319" fmla="*/ 84544 h 344988"/>
                <a:gd name="connsiteX320" fmla="*/ 229692 w 344587"/>
                <a:gd name="connsiteY320" fmla="*/ 79918 h 344988"/>
                <a:gd name="connsiteX321" fmla="*/ 234399 w 344587"/>
                <a:gd name="connsiteY321" fmla="*/ 78706 h 344988"/>
                <a:gd name="connsiteX322" fmla="*/ 230585 w 344587"/>
                <a:gd name="connsiteY322" fmla="*/ 75650 h 344988"/>
                <a:gd name="connsiteX323" fmla="*/ 113678 w 344587"/>
                <a:gd name="connsiteY323" fmla="*/ 70720 h 344988"/>
                <a:gd name="connsiteX324" fmla="*/ 114002 w 344587"/>
                <a:gd name="connsiteY324" fmla="*/ 75650 h 344988"/>
                <a:gd name="connsiteX325" fmla="*/ 110188 w 344587"/>
                <a:gd name="connsiteY325" fmla="*/ 78706 h 344988"/>
                <a:gd name="connsiteX326" fmla="*/ 114895 w 344587"/>
                <a:gd name="connsiteY326" fmla="*/ 79918 h 344988"/>
                <a:gd name="connsiteX327" fmla="*/ 116572 w 344587"/>
                <a:gd name="connsiteY327" fmla="*/ 84544 h 344988"/>
                <a:gd name="connsiteX328" fmla="*/ 119169 w 344587"/>
                <a:gd name="connsiteY328" fmla="*/ 80386 h 344988"/>
                <a:gd name="connsiteX329" fmla="*/ 124011 w 344587"/>
                <a:gd name="connsiteY329" fmla="*/ 80193 h 344988"/>
                <a:gd name="connsiteX330" fmla="*/ 120900 w 344587"/>
                <a:gd name="connsiteY330" fmla="*/ 76393 h 344988"/>
                <a:gd name="connsiteX331" fmla="*/ 122226 w 344587"/>
                <a:gd name="connsiteY331" fmla="*/ 71629 h 344988"/>
                <a:gd name="connsiteX332" fmla="*/ 117708 w 344587"/>
                <a:gd name="connsiteY332" fmla="*/ 73474 h 344988"/>
                <a:gd name="connsiteX333" fmla="*/ 212334 w 344587"/>
                <a:gd name="connsiteY333" fmla="*/ 62106 h 344988"/>
                <a:gd name="connsiteX334" fmla="*/ 208828 w 344587"/>
                <a:gd name="connsiteY334" fmla="*/ 65489 h 344988"/>
                <a:gd name="connsiteX335" fmla="*/ 204046 w 344587"/>
                <a:gd name="connsiteY335" fmla="*/ 64507 h 344988"/>
                <a:gd name="connsiteX336" fmla="*/ 206165 w 344587"/>
                <a:gd name="connsiteY336" fmla="*/ 68900 h 344988"/>
                <a:gd name="connsiteX337" fmla="*/ 203747 w 344587"/>
                <a:gd name="connsiteY337" fmla="*/ 73156 h 344988"/>
                <a:gd name="connsiteX338" fmla="*/ 208584 w 344587"/>
                <a:gd name="connsiteY338" fmla="*/ 72501 h 344988"/>
                <a:gd name="connsiteX339" fmla="*/ 211844 w 344587"/>
                <a:gd name="connsiteY339" fmla="*/ 76130 h 344988"/>
                <a:gd name="connsiteX340" fmla="*/ 212714 w 344587"/>
                <a:gd name="connsiteY340" fmla="*/ 71301 h 344988"/>
                <a:gd name="connsiteX341" fmla="*/ 217170 w 344587"/>
                <a:gd name="connsiteY341" fmla="*/ 69282 h 344988"/>
                <a:gd name="connsiteX342" fmla="*/ 212877 w 344587"/>
                <a:gd name="connsiteY342" fmla="*/ 66962 h 344988"/>
                <a:gd name="connsiteX343" fmla="*/ 132182 w 344587"/>
                <a:gd name="connsiteY343" fmla="*/ 62106 h 344988"/>
                <a:gd name="connsiteX344" fmla="*/ 131646 w 344587"/>
                <a:gd name="connsiteY344" fmla="*/ 66962 h 344988"/>
                <a:gd name="connsiteX345" fmla="*/ 127417 w 344587"/>
                <a:gd name="connsiteY345" fmla="*/ 69282 h 344988"/>
                <a:gd name="connsiteX346" fmla="*/ 131807 w 344587"/>
                <a:gd name="connsiteY346" fmla="*/ 71301 h 344988"/>
                <a:gd name="connsiteX347" fmla="*/ 132663 w 344587"/>
                <a:gd name="connsiteY347" fmla="*/ 76130 h 344988"/>
                <a:gd name="connsiteX348" fmla="*/ 135875 w 344587"/>
                <a:gd name="connsiteY348" fmla="*/ 72501 h 344988"/>
                <a:gd name="connsiteX349" fmla="*/ 140640 w 344587"/>
                <a:gd name="connsiteY349" fmla="*/ 73156 h 344988"/>
                <a:gd name="connsiteX350" fmla="*/ 138258 w 344587"/>
                <a:gd name="connsiteY350" fmla="*/ 68900 h 344988"/>
                <a:gd name="connsiteX351" fmla="*/ 140345 w 344587"/>
                <a:gd name="connsiteY351" fmla="*/ 64507 h 344988"/>
                <a:gd name="connsiteX352" fmla="*/ 135635 w 344587"/>
                <a:gd name="connsiteY352" fmla="*/ 65489 h 344988"/>
                <a:gd name="connsiteX353" fmla="*/ 192615 w 344587"/>
                <a:gd name="connsiteY353" fmla="*/ 56897 h 344988"/>
                <a:gd name="connsiteX354" fmla="*/ 189761 w 344587"/>
                <a:gd name="connsiteY354" fmla="*/ 60835 h 344988"/>
                <a:gd name="connsiteX355" fmla="*/ 184915 w 344587"/>
                <a:gd name="connsiteY355" fmla="*/ 60672 h 344988"/>
                <a:gd name="connsiteX356" fmla="*/ 187742 w 344587"/>
                <a:gd name="connsiteY356" fmla="*/ 64637 h 344988"/>
                <a:gd name="connsiteX357" fmla="*/ 186127 w 344587"/>
                <a:gd name="connsiteY357" fmla="*/ 69227 h 344988"/>
                <a:gd name="connsiteX358" fmla="*/ 190704 w 344587"/>
                <a:gd name="connsiteY358" fmla="*/ 67733 h 344988"/>
                <a:gd name="connsiteX359" fmla="*/ 194527 w 344587"/>
                <a:gd name="connsiteY359" fmla="*/ 70720 h 344988"/>
                <a:gd name="connsiteX360" fmla="*/ 194554 w 344587"/>
                <a:gd name="connsiteY360" fmla="*/ 65832 h 344988"/>
                <a:gd name="connsiteX361" fmla="*/ 198538 w 344587"/>
                <a:gd name="connsiteY361" fmla="*/ 63089 h 344988"/>
                <a:gd name="connsiteX362" fmla="*/ 193961 w 344587"/>
                <a:gd name="connsiteY362" fmla="*/ 61568 h 344988"/>
                <a:gd name="connsiteX363" fmla="*/ 151859 w 344587"/>
                <a:gd name="connsiteY363" fmla="*/ 56897 h 344988"/>
                <a:gd name="connsiteX364" fmla="*/ 150493 w 344587"/>
                <a:gd name="connsiteY364" fmla="*/ 61568 h 344988"/>
                <a:gd name="connsiteX365" fmla="*/ 145849 w 344587"/>
                <a:gd name="connsiteY365" fmla="*/ 63089 h 344988"/>
                <a:gd name="connsiteX366" fmla="*/ 149892 w 344587"/>
                <a:gd name="connsiteY366" fmla="*/ 65832 h 344988"/>
                <a:gd name="connsiteX367" fmla="*/ 149919 w 344587"/>
                <a:gd name="connsiteY367" fmla="*/ 70720 h 344988"/>
                <a:gd name="connsiteX368" fmla="*/ 153798 w 344587"/>
                <a:gd name="connsiteY368" fmla="*/ 67733 h 344988"/>
                <a:gd name="connsiteX369" fmla="*/ 158443 w 344587"/>
                <a:gd name="connsiteY369" fmla="*/ 69227 h 344988"/>
                <a:gd name="connsiteX370" fmla="*/ 156804 w 344587"/>
                <a:gd name="connsiteY370" fmla="*/ 64637 h 344988"/>
                <a:gd name="connsiteX371" fmla="*/ 159672 w 344587"/>
                <a:gd name="connsiteY371" fmla="*/ 60672 h 344988"/>
                <a:gd name="connsiteX372" fmla="*/ 154755 w 344587"/>
                <a:gd name="connsiteY372" fmla="*/ 60835 h 344988"/>
                <a:gd name="connsiteX373" fmla="*/ 172307 w 344587"/>
                <a:gd name="connsiteY373" fmla="*/ 55094 h 344988"/>
                <a:gd name="connsiteX374" fmla="*/ 170121 w 344587"/>
                <a:gd name="connsiteY374" fmla="*/ 59447 h 344988"/>
                <a:gd name="connsiteX375" fmla="*/ 165282 w 344587"/>
                <a:gd name="connsiteY375" fmla="*/ 60150 h 344988"/>
                <a:gd name="connsiteX376" fmla="*/ 168781 w 344587"/>
                <a:gd name="connsiteY376" fmla="*/ 63530 h 344988"/>
                <a:gd name="connsiteX377" fmla="*/ 167961 w 344587"/>
                <a:gd name="connsiteY377" fmla="*/ 68316 h 344988"/>
                <a:gd name="connsiteX378" fmla="*/ 172307 w 344587"/>
                <a:gd name="connsiteY378" fmla="*/ 66045 h 344988"/>
                <a:gd name="connsiteX379" fmla="*/ 176627 w 344587"/>
                <a:gd name="connsiteY379" fmla="*/ 68316 h 344988"/>
                <a:gd name="connsiteX380" fmla="*/ 175806 w 344587"/>
                <a:gd name="connsiteY380" fmla="*/ 63530 h 344988"/>
                <a:gd name="connsiteX381" fmla="*/ 179306 w 344587"/>
                <a:gd name="connsiteY381" fmla="*/ 60150 h 344988"/>
                <a:gd name="connsiteX382" fmla="*/ 174467 w 344587"/>
                <a:gd name="connsiteY382" fmla="*/ 59447 h 344988"/>
                <a:gd name="connsiteX383" fmla="*/ 171615 w 344587"/>
                <a:gd name="connsiteY383" fmla="*/ 48293 h 344988"/>
                <a:gd name="connsiteX384" fmla="*/ 293719 w 344587"/>
                <a:gd name="connsiteY384" fmla="*/ 170398 h 344988"/>
                <a:gd name="connsiteX385" fmla="*/ 171615 w 344587"/>
                <a:gd name="connsiteY385" fmla="*/ 292503 h 344988"/>
                <a:gd name="connsiteX386" fmla="*/ 49510 w 344587"/>
                <a:gd name="connsiteY386" fmla="*/ 170398 h 344988"/>
                <a:gd name="connsiteX387" fmla="*/ 171615 w 344587"/>
                <a:gd name="connsiteY387" fmla="*/ 48293 h 344988"/>
                <a:gd name="connsiteX388" fmla="*/ 171615 w 344587"/>
                <a:gd name="connsiteY388" fmla="*/ 34348 h 344988"/>
                <a:gd name="connsiteX389" fmla="*/ 35565 w 344587"/>
                <a:gd name="connsiteY389" fmla="*/ 170398 h 344988"/>
                <a:gd name="connsiteX390" fmla="*/ 171615 w 344587"/>
                <a:gd name="connsiteY390" fmla="*/ 306448 h 344988"/>
                <a:gd name="connsiteX391" fmla="*/ 307665 w 344587"/>
                <a:gd name="connsiteY391" fmla="*/ 170398 h 344988"/>
                <a:gd name="connsiteX392" fmla="*/ 171615 w 344587"/>
                <a:gd name="connsiteY392" fmla="*/ 34348 h 344988"/>
                <a:gd name="connsiteX393" fmla="*/ 172307 w 344587"/>
                <a:gd name="connsiteY393" fmla="*/ 0 h 344988"/>
                <a:gd name="connsiteX394" fmla="*/ 212700 w 344587"/>
                <a:gd name="connsiteY394" fmla="*/ 21468 h 344988"/>
                <a:gd name="connsiteX395" fmla="*/ 258434 w 344587"/>
                <a:gd name="connsiteY395" fmla="*/ 23124 h 344988"/>
                <a:gd name="connsiteX396" fmla="*/ 282724 w 344587"/>
                <a:gd name="connsiteY396" fmla="*/ 61936 h 344988"/>
                <a:gd name="connsiteX397" fmla="*/ 321490 w 344587"/>
                <a:gd name="connsiteY397" fmla="*/ 86254 h 344988"/>
                <a:gd name="connsiteX398" fmla="*/ 323144 w 344587"/>
                <a:gd name="connsiteY398" fmla="*/ 132040 h 344988"/>
                <a:gd name="connsiteX399" fmla="*/ 344587 w 344587"/>
                <a:gd name="connsiteY399" fmla="*/ 172508 h 344988"/>
                <a:gd name="connsiteX400" fmla="*/ 323144 w 344587"/>
                <a:gd name="connsiteY400" fmla="*/ 212975 h 344988"/>
                <a:gd name="connsiteX401" fmla="*/ 321490 w 344587"/>
                <a:gd name="connsiteY401" fmla="*/ 258734 h 344988"/>
                <a:gd name="connsiteX402" fmla="*/ 282724 w 344587"/>
                <a:gd name="connsiteY402" fmla="*/ 283052 h 344988"/>
                <a:gd name="connsiteX403" fmla="*/ 258434 w 344587"/>
                <a:gd name="connsiteY403" fmla="*/ 321891 h 344988"/>
                <a:gd name="connsiteX404" fmla="*/ 212700 w 344587"/>
                <a:gd name="connsiteY404" fmla="*/ 323520 h 344988"/>
                <a:gd name="connsiteX405" fmla="*/ 172307 w 344587"/>
                <a:gd name="connsiteY405" fmla="*/ 344988 h 344988"/>
                <a:gd name="connsiteX406" fmla="*/ 131887 w 344587"/>
                <a:gd name="connsiteY406" fmla="*/ 323520 h 344988"/>
                <a:gd name="connsiteX407" fmla="*/ 86154 w 344587"/>
                <a:gd name="connsiteY407" fmla="*/ 321891 h 344988"/>
                <a:gd name="connsiteX408" fmla="*/ 61864 w 344587"/>
                <a:gd name="connsiteY408" fmla="*/ 283052 h 344988"/>
                <a:gd name="connsiteX409" fmla="*/ 23097 w 344587"/>
                <a:gd name="connsiteY409" fmla="*/ 258734 h 344988"/>
                <a:gd name="connsiteX410" fmla="*/ 21444 w 344587"/>
                <a:gd name="connsiteY410" fmla="*/ 212975 h 344988"/>
                <a:gd name="connsiteX411" fmla="*/ 0 w 344587"/>
                <a:gd name="connsiteY411" fmla="*/ 172508 h 344988"/>
                <a:gd name="connsiteX412" fmla="*/ 21444 w 344587"/>
                <a:gd name="connsiteY412" fmla="*/ 132040 h 344988"/>
                <a:gd name="connsiteX413" fmla="*/ 23097 w 344587"/>
                <a:gd name="connsiteY413" fmla="*/ 86254 h 344988"/>
                <a:gd name="connsiteX414" fmla="*/ 61864 w 344587"/>
                <a:gd name="connsiteY414" fmla="*/ 61936 h 344988"/>
                <a:gd name="connsiteX415" fmla="*/ 86154 w 344587"/>
                <a:gd name="connsiteY415" fmla="*/ 23124 h 344988"/>
                <a:gd name="connsiteX416" fmla="*/ 131887 w 344587"/>
                <a:gd name="connsiteY416" fmla="*/ 21468 h 344988"/>
                <a:gd name="connsiteX417" fmla="*/ 172307 w 344587"/>
                <a:gd name="connsiteY417" fmla="*/ 0 h 3449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</a:cxnLst>
              <a:rect l="l" t="t" r="r" b="b"/>
              <a:pathLst>
                <a:path w="344587" h="344988">
                  <a:moveTo>
                    <a:pt x="167961" y="276672"/>
                  </a:moveTo>
                  <a:lnTo>
                    <a:pt x="168781" y="281441"/>
                  </a:lnTo>
                  <a:lnTo>
                    <a:pt x="165282" y="284827"/>
                  </a:lnTo>
                  <a:lnTo>
                    <a:pt x="170121" y="285532"/>
                  </a:lnTo>
                  <a:lnTo>
                    <a:pt x="172307" y="289894"/>
                  </a:lnTo>
                  <a:lnTo>
                    <a:pt x="174467" y="285532"/>
                  </a:lnTo>
                  <a:lnTo>
                    <a:pt x="179306" y="284827"/>
                  </a:lnTo>
                  <a:lnTo>
                    <a:pt x="175806" y="281441"/>
                  </a:lnTo>
                  <a:lnTo>
                    <a:pt x="176627" y="276672"/>
                  </a:lnTo>
                  <a:lnTo>
                    <a:pt x="172307" y="278921"/>
                  </a:lnTo>
                  <a:close/>
                  <a:moveTo>
                    <a:pt x="194527" y="274468"/>
                  </a:moveTo>
                  <a:lnTo>
                    <a:pt x="190704" y="277391"/>
                  </a:lnTo>
                  <a:lnTo>
                    <a:pt x="186127" y="275943"/>
                  </a:lnTo>
                  <a:lnTo>
                    <a:pt x="187742" y="280475"/>
                  </a:lnTo>
                  <a:lnTo>
                    <a:pt x="184915" y="284363"/>
                  </a:lnTo>
                  <a:lnTo>
                    <a:pt x="189761" y="284229"/>
                  </a:lnTo>
                  <a:lnTo>
                    <a:pt x="192615" y="288091"/>
                  </a:lnTo>
                  <a:lnTo>
                    <a:pt x="193961" y="283479"/>
                  </a:lnTo>
                  <a:lnTo>
                    <a:pt x="198538" y="281977"/>
                  </a:lnTo>
                  <a:lnTo>
                    <a:pt x="194554" y="279268"/>
                  </a:lnTo>
                  <a:close/>
                  <a:moveTo>
                    <a:pt x="149919" y="274468"/>
                  </a:moveTo>
                  <a:lnTo>
                    <a:pt x="149892" y="279268"/>
                  </a:lnTo>
                  <a:lnTo>
                    <a:pt x="145849" y="281977"/>
                  </a:lnTo>
                  <a:lnTo>
                    <a:pt x="150493" y="283479"/>
                  </a:lnTo>
                  <a:lnTo>
                    <a:pt x="151859" y="288091"/>
                  </a:lnTo>
                  <a:lnTo>
                    <a:pt x="154755" y="284229"/>
                  </a:lnTo>
                  <a:lnTo>
                    <a:pt x="159672" y="284363"/>
                  </a:lnTo>
                  <a:lnTo>
                    <a:pt x="156804" y="280475"/>
                  </a:lnTo>
                  <a:lnTo>
                    <a:pt x="158443" y="275943"/>
                  </a:lnTo>
                  <a:lnTo>
                    <a:pt x="153798" y="277391"/>
                  </a:lnTo>
                  <a:close/>
                  <a:moveTo>
                    <a:pt x="211844" y="268858"/>
                  </a:moveTo>
                  <a:lnTo>
                    <a:pt x="208584" y="272467"/>
                  </a:lnTo>
                  <a:lnTo>
                    <a:pt x="203747" y="271811"/>
                  </a:lnTo>
                  <a:lnTo>
                    <a:pt x="206165" y="276075"/>
                  </a:lnTo>
                  <a:lnTo>
                    <a:pt x="204046" y="280504"/>
                  </a:lnTo>
                  <a:lnTo>
                    <a:pt x="208828" y="279492"/>
                  </a:lnTo>
                  <a:lnTo>
                    <a:pt x="212334" y="282882"/>
                  </a:lnTo>
                  <a:lnTo>
                    <a:pt x="212877" y="278016"/>
                  </a:lnTo>
                  <a:lnTo>
                    <a:pt x="217170" y="275693"/>
                  </a:lnTo>
                  <a:lnTo>
                    <a:pt x="212714" y="273670"/>
                  </a:lnTo>
                  <a:close/>
                  <a:moveTo>
                    <a:pt x="132663" y="268858"/>
                  </a:moveTo>
                  <a:lnTo>
                    <a:pt x="131807" y="273670"/>
                  </a:lnTo>
                  <a:lnTo>
                    <a:pt x="127417" y="275693"/>
                  </a:lnTo>
                  <a:lnTo>
                    <a:pt x="131646" y="278016"/>
                  </a:lnTo>
                  <a:lnTo>
                    <a:pt x="132182" y="282882"/>
                  </a:lnTo>
                  <a:lnTo>
                    <a:pt x="135635" y="279492"/>
                  </a:lnTo>
                  <a:lnTo>
                    <a:pt x="140345" y="280504"/>
                  </a:lnTo>
                  <a:lnTo>
                    <a:pt x="138258" y="276075"/>
                  </a:lnTo>
                  <a:lnTo>
                    <a:pt x="140640" y="271811"/>
                  </a:lnTo>
                  <a:lnTo>
                    <a:pt x="135875" y="272467"/>
                  </a:lnTo>
                  <a:close/>
                  <a:moveTo>
                    <a:pt x="228015" y="260644"/>
                  </a:moveTo>
                  <a:lnTo>
                    <a:pt x="225418" y="264769"/>
                  </a:lnTo>
                  <a:lnTo>
                    <a:pt x="220576" y="264959"/>
                  </a:lnTo>
                  <a:lnTo>
                    <a:pt x="223687" y="268704"/>
                  </a:lnTo>
                  <a:lnTo>
                    <a:pt x="222361" y="273372"/>
                  </a:lnTo>
                  <a:lnTo>
                    <a:pt x="226879" y="271581"/>
                  </a:lnTo>
                  <a:lnTo>
                    <a:pt x="230910" y="274268"/>
                  </a:lnTo>
                  <a:lnTo>
                    <a:pt x="230585" y="269410"/>
                  </a:lnTo>
                  <a:lnTo>
                    <a:pt x="234399" y="266398"/>
                  </a:lnTo>
                  <a:lnTo>
                    <a:pt x="229692" y="265204"/>
                  </a:lnTo>
                  <a:close/>
                  <a:moveTo>
                    <a:pt x="116572" y="260644"/>
                  </a:moveTo>
                  <a:lnTo>
                    <a:pt x="114895" y="265204"/>
                  </a:lnTo>
                  <a:lnTo>
                    <a:pt x="110188" y="266398"/>
                  </a:lnTo>
                  <a:lnTo>
                    <a:pt x="114002" y="269410"/>
                  </a:lnTo>
                  <a:lnTo>
                    <a:pt x="113678" y="274268"/>
                  </a:lnTo>
                  <a:lnTo>
                    <a:pt x="117708" y="271581"/>
                  </a:lnTo>
                  <a:lnTo>
                    <a:pt x="122226" y="273372"/>
                  </a:lnTo>
                  <a:lnTo>
                    <a:pt x="120900" y="268704"/>
                  </a:lnTo>
                  <a:lnTo>
                    <a:pt x="124011" y="264959"/>
                  </a:lnTo>
                  <a:lnTo>
                    <a:pt x="119169" y="264769"/>
                  </a:lnTo>
                  <a:close/>
                  <a:moveTo>
                    <a:pt x="242363" y="249625"/>
                  </a:moveTo>
                  <a:lnTo>
                    <a:pt x="240527" y="254100"/>
                  </a:lnTo>
                  <a:lnTo>
                    <a:pt x="235802" y="255124"/>
                  </a:lnTo>
                  <a:lnTo>
                    <a:pt x="239501" y="258251"/>
                  </a:lnTo>
                  <a:lnTo>
                    <a:pt x="239015" y="263048"/>
                  </a:lnTo>
                  <a:lnTo>
                    <a:pt x="243119" y="260515"/>
                  </a:lnTo>
                  <a:lnTo>
                    <a:pt x="247546" y="262455"/>
                  </a:lnTo>
                  <a:lnTo>
                    <a:pt x="246413" y="257766"/>
                  </a:lnTo>
                  <a:lnTo>
                    <a:pt x="249625" y="254154"/>
                  </a:lnTo>
                  <a:lnTo>
                    <a:pt x="244792" y="253776"/>
                  </a:lnTo>
                  <a:close/>
                  <a:moveTo>
                    <a:pt x="102024" y="249625"/>
                  </a:moveTo>
                  <a:lnTo>
                    <a:pt x="99594" y="253776"/>
                  </a:lnTo>
                  <a:lnTo>
                    <a:pt x="94762" y="254154"/>
                  </a:lnTo>
                  <a:lnTo>
                    <a:pt x="97975" y="257766"/>
                  </a:lnTo>
                  <a:lnTo>
                    <a:pt x="96841" y="262455"/>
                  </a:lnTo>
                  <a:lnTo>
                    <a:pt x="101268" y="260515"/>
                  </a:lnTo>
                  <a:lnTo>
                    <a:pt x="105372" y="263048"/>
                  </a:lnTo>
                  <a:lnTo>
                    <a:pt x="104886" y="258251"/>
                  </a:lnTo>
                  <a:lnTo>
                    <a:pt x="108585" y="255124"/>
                  </a:lnTo>
                  <a:lnTo>
                    <a:pt x="103860" y="254100"/>
                  </a:lnTo>
                  <a:close/>
                  <a:moveTo>
                    <a:pt x="254712" y="236203"/>
                  </a:moveTo>
                  <a:lnTo>
                    <a:pt x="253690" y="240928"/>
                  </a:lnTo>
                  <a:lnTo>
                    <a:pt x="249225" y="242764"/>
                  </a:lnTo>
                  <a:lnTo>
                    <a:pt x="253394" y="245220"/>
                  </a:lnTo>
                  <a:lnTo>
                    <a:pt x="253771" y="250026"/>
                  </a:lnTo>
                  <a:lnTo>
                    <a:pt x="257348" y="246813"/>
                  </a:lnTo>
                  <a:lnTo>
                    <a:pt x="262056" y="247974"/>
                  </a:lnTo>
                  <a:lnTo>
                    <a:pt x="260119" y="243520"/>
                  </a:lnTo>
                  <a:lnTo>
                    <a:pt x="262648" y="239416"/>
                  </a:lnTo>
                  <a:lnTo>
                    <a:pt x="257833" y="239902"/>
                  </a:lnTo>
                  <a:close/>
                  <a:moveTo>
                    <a:pt x="89793" y="236203"/>
                  </a:moveTo>
                  <a:lnTo>
                    <a:pt x="86626" y="239902"/>
                  </a:lnTo>
                  <a:lnTo>
                    <a:pt x="81739" y="239416"/>
                  </a:lnTo>
                  <a:lnTo>
                    <a:pt x="84333" y="243520"/>
                  </a:lnTo>
                  <a:lnTo>
                    <a:pt x="82340" y="247974"/>
                  </a:lnTo>
                  <a:lnTo>
                    <a:pt x="87118" y="246813"/>
                  </a:lnTo>
                  <a:lnTo>
                    <a:pt x="90749" y="250026"/>
                  </a:lnTo>
                  <a:lnTo>
                    <a:pt x="91131" y="245220"/>
                  </a:lnTo>
                  <a:lnTo>
                    <a:pt x="95363" y="242764"/>
                  </a:lnTo>
                  <a:lnTo>
                    <a:pt x="90831" y="240928"/>
                  </a:lnTo>
                  <a:close/>
                  <a:moveTo>
                    <a:pt x="264558" y="220977"/>
                  </a:moveTo>
                  <a:lnTo>
                    <a:pt x="264341" y="225819"/>
                  </a:lnTo>
                  <a:lnTo>
                    <a:pt x="260243" y="228416"/>
                  </a:lnTo>
                  <a:lnTo>
                    <a:pt x="264803" y="230093"/>
                  </a:lnTo>
                  <a:lnTo>
                    <a:pt x="265997" y="234800"/>
                  </a:lnTo>
                  <a:lnTo>
                    <a:pt x="269009" y="230986"/>
                  </a:lnTo>
                  <a:lnTo>
                    <a:pt x="273867" y="231311"/>
                  </a:lnTo>
                  <a:lnTo>
                    <a:pt x="271180" y="227280"/>
                  </a:lnTo>
                  <a:lnTo>
                    <a:pt x="272971" y="222762"/>
                  </a:lnTo>
                  <a:lnTo>
                    <a:pt x="268276" y="224088"/>
                  </a:lnTo>
                  <a:close/>
                  <a:moveTo>
                    <a:pt x="80029" y="220977"/>
                  </a:moveTo>
                  <a:lnTo>
                    <a:pt x="76311" y="224088"/>
                  </a:lnTo>
                  <a:lnTo>
                    <a:pt x="71616" y="222762"/>
                  </a:lnTo>
                  <a:lnTo>
                    <a:pt x="73407" y="227280"/>
                  </a:lnTo>
                  <a:lnTo>
                    <a:pt x="70721" y="231311"/>
                  </a:lnTo>
                  <a:lnTo>
                    <a:pt x="75578" y="230986"/>
                  </a:lnTo>
                  <a:lnTo>
                    <a:pt x="78590" y="234800"/>
                  </a:lnTo>
                  <a:lnTo>
                    <a:pt x="79785" y="230093"/>
                  </a:lnTo>
                  <a:lnTo>
                    <a:pt x="84344" y="228416"/>
                  </a:lnTo>
                  <a:lnTo>
                    <a:pt x="80246" y="225819"/>
                  </a:lnTo>
                  <a:close/>
                  <a:moveTo>
                    <a:pt x="271410" y="204148"/>
                  </a:moveTo>
                  <a:lnTo>
                    <a:pt x="272066" y="208985"/>
                  </a:lnTo>
                  <a:lnTo>
                    <a:pt x="268457" y="212245"/>
                  </a:lnTo>
                  <a:lnTo>
                    <a:pt x="273269" y="213115"/>
                  </a:lnTo>
                  <a:lnTo>
                    <a:pt x="275292" y="217571"/>
                  </a:lnTo>
                  <a:lnTo>
                    <a:pt x="277615" y="213278"/>
                  </a:lnTo>
                  <a:lnTo>
                    <a:pt x="282481" y="212734"/>
                  </a:lnTo>
                  <a:lnTo>
                    <a:pt x="279091" y="209229"/>
                  </a:lnTo>
                  <a:lnTo>
                    <a:pt x="280076" y="204447"/>
                  </a:lnTo>
                  <a:lnTo>
                    <a:pt x="275674" y="206566"/>
                  </a:lnTo>
                  <a:close/>
                  <a:moveTo>
                    <a:pt x="73019" y="204148"/>
                  </a:moveTo>
                  <a:lnTo>
                    <a:pt x="68816" y="206566"/>
                  </a:lnTo>
                  <a:lnTo>
                    <a:pt x="64477" y="204447"/>
                  </a:lnTo>
                  <a:lnTo>
                    <a:pt x="65447" y="209229"/>
                  </a:lnTo>
                  <a:lnTo>
                    <a:pt x="62106" y="212734"/>
                  </a:lnTo>
                  <a:lnTo>
                    <a:pt x="66903" y="213278"/>
                  </a:lnTo>
                  <a:lnTo>
                    <a:pt x="69193" y="217571"/>
                  </a:lnTo>
                  <a:lnTo>
                    <a:pt x="71187" y="213115"/>
                  </a:lnTo>
                  <a:lnTo>
                    <a:pt x="75929" y="212245"/>
                  </a:lnTo>
                  <a:lnTo>
                    <a:pt x="72373" y="208985"/>
                  </a:lnTo>
                  <a:close/>
                  <a:moveTo>
                    <a:pt x="283915" y="185116"/>
                  </a:moveTo>
                  <a:lnTo>
                    <a:pt x="279950" y="187963"/>
                  </a:lnTo>
                  <a:lnTo>
                    <a:pt x="275388" y="186320"/>
                  </a:lnTo>
                  <a:lnTo>
                    <a:pt x="276854" y="191001"/>
                  </a:lnTo>
                  <a:lnTo>
                    <a:pt x="273867" y="194861"/>
                  </a:lnTo>
                  <a:lnTo>
                    <a:pt x="278755" y="194888"/>
                  </a:lnTo>
                  <a:lnTo>
                    <a:pt x="281498" y="198939"/>
                  </a:lnTo>
                  <a:lnTo>
                    <a:pt x="283019" y="194286"/>
                  </a:lnTo>
                  <a:lnTo>
                    <a:pt x="287690" y="192917"/>
                  </a:lnTo>
                  <a:lnTo>
                    <a:pt x="283780" y="190015"/>
                  </a:lnTo>
                  <a:close/>
                  <a:moveTo>
                    <a:pt x="60472" y="185116"/>
                  </a:moveTo>
                  <a:lnTo>
                    <a:pt x="60608" y="190015"/>
                  </a:lnTo>
                  <a:lnTo>
                    <a:pt x="56697" y="192917"/>
                  </a:lnTo>
                  <a:lnTo>
                    <a:pt x="61368" y="194286"/>
                  </a:lnTo>
                  <a:lnTo>
                    <a:pt x="62889" y="198939"/>
                  </a:lnTo>
                  <a:lnTo>
                    <a:pt x="65632" y="194888"/>
                  </a:lnTo>
                  <a:lnTo>
                    <a:pt x="70520" y="194861"/>
                  </a:lnTo>
                  <a:lnTo>
                    <a:pt x="67533" y="191001"/>
                  </a:lnTo>
                  <a:lnTo>
                    <a:pt x="68999" y="186320"/>
                  </a:lnTo>
                  <a:lnTo>
                    <a:pt x="64437" y="187963"/>
                  </a:lnTo>
                  <a:close/>
                  <a:moveTo>
                    <a:pt x="284437" y="165482"/>
                  </a:moveTo>
                  <a:lnTo>
                    <a:pt x="281057" y="168981"/>
                  </a:lnTo>
                  <a:lnTo>
                    <a:pt x="276271" y="168161"/>
                  </a:lnTo>
                  <a:lnTo>
                    <a:pt x="278542" y="172508"/>
                  </a:lnTo>
                  <a:lnTo>
                    <a:pt x="276271" y="176827"/>
                  </a:lnTo>
                  <a:lnTo>
                    <a:pt x="281057" y="176007"/>
                  </a:lnTo>
                  <a:lnTo>
                    <a:pt x="284437" y="179506"/>
                  </a:lnTo>
                  <a:lnTo>
                    <a:pt x="285140" y="174667"/>
                  </a:lnTo>
                  <a:lnTo>
                    <a:pt x="289493" y="172508"/>
                  </a:lnTo>
                  <a:lnTo>
                    <a:pt x="285140" y="170321"/>
                  </a:lnTo>
                  <a:close/>
                  <a:moveTo>
                    <a:pt x="60027" y="165482"/>
                  </a:moveTo>
                  <a:lnTo>
                    <a:pt x="59313" y="170321"/>
                  </a:lnTo>
                  <a:lnTo>
                    <a:pt x="54894" y="172508"/>
                  </a:lnTo>
                  <a:lnTo>
                    <a:pt x="59313" y="174667"/>
                  </a:lnTo>
                  <a:lnTo>
                    <a:pt x="60027" y="179506"/>
                  </a:lnTo>
                  <a:lnTo>
                    <a:pt x="63458" y="176007"/>
                  </a:lnTo>
                  <a:lnTo>
                    <a:pt x="68317" y="176827"/>
                  </a:lnTo>
                  <a:lnTo>
                    <a:pt x="66011" y="172508"/>
                  </a:lnTo>
                  <a:lnTo>
                    <a:pt x="68317" y="168161"/>
                  </a:lnTo>
                  <a:lnTo>
                    <a:pt x="63458" y="168981"/>
                  </a:lnTo>
                  <a:close/>
                  <a:moveTo>
                    <a:pt x="281498" y="146049"/>
                  </a:moveTo>
                  <a:lnTo>
                    <a:pt x="278755" y="150092"/>
                  </a:lnTo>
                  <a:lnTo>
                    <a:pt x="273867" y="150120"/>
                  </a:lnTo>
                  <a:lnTo>
                    <a:pt x="276854" y="153999"/>
                  </a:lnTo>
                  <a:lnTo>
                    <a:pt x="275388" y="158670"/>
                  </a:lnTo>
                  <a:lnTo>
                    <a:pt x="279950" y="157004"/>
                  </a:lnTo>
                  <a:lnTo>
                    <a:pt x="283915" y="159872"/>
                  </a:lnTo>
                  <a:lnTo>
                    <a:pt x="283780" y="154955"/>
                  </a:lnTo>
                  <a:lnTo>
                    <a:pt x="287690" y="152059"/>
                  </a:lnTo>
                  <a:lnTo>
                    <a:pt x="283019" y="150693"/>
                  </a:lnTo>
                  <a:close/>
                  <a:moveTo>
                    <a:pt x="62889" y="146049"/>
                  </a:moveTo>
                  <a:lnTo>
                    <a:pt x="61368" y="150693"/>
                  </a:lnTo>
                  <a:lnTo>
                    <a:pt x="56697" y="152059"/>
                  </a:lnTo>
                  <a:lnTo>
                    <a:pt x="60608" y="154955"/>
                  </a:lnTo>
                  <a:lnTo>
                    <a:pt x="60472" y="159872"/>
                  </a:lnTo>
                  <a:lnTo>
                    <a:pt x="64437" y="157004"/>
                  </a:lnTo>
                  <a:lnTo>
                    <a:pt x="68999" y="158670"/>
                  </a:lnTo>
                  <a:lnTo>
                    <a:pt x="67533" y="153999"/>
                  </a:lnTo>
                  <a:lnTo>
                    <a:pt x="70520" y="150120"/>
                  </a:lnTo>
                  <a:lnTo>
                    <a:pt x="65632" y="150092"/>
                  </a:lnTo>
                  <a:close/>
                  <a:moveTo>
                    <a:pt x="275292" y="127618"/>
                  </a:moveTo>
                  <a:lnTo>
                    <a:pt x="273269" y="132007"/>
                  </a:lnTo>
                  <a:lnTo>
                    <a:pt x="268457" y="132864"/>
                  </a:lnTo>
                  <a:lnTo>
                    <a:pt x="272066" y="136103"/>
                  </a:lnTo>
                  <a:lnTo>
                    <a:pt x="271410" y="140840"/>
                  </a:lnTo>
                  <a:lnTo>
                    <a:pt x="275674" y="138458"/>
                  </a:lnTo>
                  <a:lnTo>
                    <a:pt x="280076" y="140546"/>
                  </a:lnTo>
                  <a:lnTo>
                    <a:pt x="279091" y="135862"/>
                  </a:lnTo>
                  <a:lnTo>
                    <a:pt x="282481" y="132382"/>
                  </a:lnTo>
                  <a:lnTo>
                    <a:pt x="277615" y="131847"/>
                  </a:lnTo>
                  <a:close/>
                  <a:moveTo>
                    <a:pt x="69193" y="127618"/>
                  </a:moveTo>
                  <a:lnTo>
                    <a:pt x="66903" y="131847"/>
                  </a:lnTo>
                  <a:lnTo>
                    <a:pt x="62106" y="132382"/>
                  </a:lnTo>
                  <a:lnTo>
                    <a:pt x="65447" y="135862"/>
                  </a:lnTo>
                  <a:lnTo>
                    <a:pt x="64477" y="140546"/>
                  </a:lnTo>
                  <a:lnTo>
                    <a:pt x="68816" y="138458"/>
                  </a:lnTo>
                  <a:lnTo>
                    <a:pt x="73019" y="140840"/>
                  </a:lnTo>
                  <a:lnTo>
                    <a:pt x="72373" y="136103"/>
                  </a:lnTo>
                  <a:lnTo>
                    <a:pt x="75929" y="132864"/>
                  </a:lnTo>
                  <a:lnTo>
                    <a:pt x="71187" y="132007"/>
                  </a:lnTo>
                  <a:close/>
                  <a:moveTo>
                    <a:pt x="265997" y="110188"/>
                  </a:moveTo>
                  <a:lnTo>
                    <a:pt x="264803" y="114963"/>
                  </a:lnTo>
                  <a:lnTo>
                    <a:pt x="260243" y="116665"/>
                  </a:lnTo>
                  <a:lnTo>
                    <a:pt x="264341" y="119299"/>
                  </a:lnTo>
                  <a:lnTo>
                    <a:pt x="264558" y="124212"/>
                  </a:lnTo>
                  <a:lnTo>
                    <a:pt x="268276" y="121083"/>
                  </a:lnTo>
                  <a:lnTo>
                    <a:pt x="272971" y="122401"/>
                  </a:lnTo>
                  <a:lnTo>
                    <a:pt x="271180" y="117845"/>
                  </a:lnTo>
                  <a:lnTo>
                    <a:pt x="273867" y="113756"/>
                  </a:lnTo>
                  <a:lnTo>
                    <a:pt x="269009" y="114057"/>
                  </a:lnTo>
                  <a:close/>
                  <a:moveTo>
                    <a:pt x="78590" y="110188"/>
                  </a:moveTo>
                  <a:lnTo>
                    <a:pt x="75578" y="114057"/>
                  </a:lnTo>
                  <a:lnTo>
                    <a:pt x="70721" y="113756"/>
                  </a:lnTo>
                  <a:lnTo>
                    <a:pt x="73407" y="117845"/>
                  </a:lnTo>
                  <a:lnTo>
                    <a:pt x="71616" y="122401"/>
                  </a:lnTo>
                  <a:lnTo>
                    <a:pt x="76311" y="121083"/>
                  </a:lnTo>
                  <a:lnTo>
                    <a:pt x="80029" y="124212"/>
                  </a:lnTo>
                  <a:lnTo>
                    <a:pt x="80246" y="119299"/>
                  </a:lnTo>
                  <a:lnTo>
                    <a:pt x="84344" y="116665"/>
                  </a:lnTo>
                  <a:lnTo>
                    <a:pt x="79785" y="114963"/>
                  </a:lnTo>
                  <a:close/>
                  <a:moveTo>
                    <a:pt x="172293" y="107507"/>
                  </a:moveTo>
                  <a:cubicBezTo>
                    <a:pt x="169195" y="107507"/>
                    <a:pt x="166097" y="109253"/>
                    <a:pt x="164742" y="112163"/>
                  </a:cubicBezTo>
                  <a:lnTo>
                    <a:pt x="148477" y="145335"/>
                  </a:lnTo>
                  <a:lnTo>
                    <a:pt x="111881" y="150766"/>
                  </a:lnTo>
                  <a:cubicBezTo>
                    <a:pt x="108589" y="151154"/>
                    <a:pt x="106072" y="153482"/>
                    <a:pt x="104910" y="156392"/>
                  </a:cubicBezTo>
                  <a:cubicBezTo>
                    <a:pt x="103942" y="159496"/>
                    <a:pt x="104910" y="162988"/>
                    <a:pt x="107234" y="165121"/>
                  </a:cubicBezTo>
                  <a:lnTo>
                    <a:pt x="133567" y="190922"/>
                  </a:lnTo>
                  <a:lnTo>
                    <a:pt x="127371" y="227392"/>
                  </a:lnTo>
                  <a:cubicBezTo>
                    <a:pt x="126790" y="230689"/>
                    <a:pt x="128146" y="233987"/>
                    <a:pt x="130663" y="235733"/>
                  </a:cubicBezTo>
                  <a:cubicBezTo>
                    <a:pt x="132212" y="236897"/>
                    <a:pt x="133955" y="237479"/>
                    <a:pt x="135697" y="237479"/>
                  </a:cubicBezTo>
                  <a:cubicBezTo>
                    <a:pt x="137053" y="237479"/>
                    <a:pt x="138408" y="237091"/>
                    <a:pt x="139570" y="236509"/>
                  </a:cubicBezTo>
                  <a:lnTo>
                    <a:pt x="172293" y="219244"/>
                  </a:lnTo>
                  <a:lnTo>
                    <a:pt x="205016" y="236509"/>
                  </a:lnTo>
                  <a:cubicBezTo>
                    <a:pt x="206372" y="237091"/>
                    <a:pt x="207727" y="237479"/>
                    <a:pt x="209083" y="237479"/>
                  </a:cubicBezTo>
                  <a:cubicBezTo>
                    <a:pt x="210825" y="237479"/>
                    <a:pt x="212568" y="236897"/>
                    <a:pt x="213923" y="235733"/>
                  </a:cubicBezTo>
                  <a:cubicBezTo>
                    <a:pt x="216634" y="233987"/>
                    <a:pt x="217990" y="230689"/>
                    <a:pt x="217409" y="227392"/>
                  </a:cubicBezTo>
                  <a:lnTo>
                    <a:pt x="211213" y="190922"/>
                  </a:lnTo>
                  <a:lnTo>
                    <a:pt x="237546" y="165121"/>
                  </a:lnTo>
                  <a:cubicBezTo>
                    <a:pt x="239870" y="162988"/>
                    <a:pt x="240644" y="159496"/>
                    <a:pt x="239676" y="156392"/>
                  </a:cubicBezTo>
                  <a:cubicBezTo>
                    <a:pt x="238708" y="153482"/>
                    <a:pt x="235997" y="151154"/>
                    <a:pt x="232899" y="150766"/>
                  </a:cubicBezTo>
                  <a:lnTo>
                    <a:pt x="196303" y="145335"/>
                  </a:lnTo>
                  <a:lnTo>
                    <a:pt x="180038" y="112163"/>
                  </a:lnTo>
                  <a:cubicBezTo>
                    <a:pt x="178489" y="109253"/>
                    <a:pt x="175585" y="107507"/>
                    <a:pt x="172293" y="107507"/>
                  </a:cubicBezTo>
                  <a:close/>
                  <a:moveTo>
                    <a:pt x="253771" y="94962"/>
                  </a:moveTo>
                  <a:lnTo>
                    <a:pt x="253394" y="99795"/>
                  </a:lnTo>
                  <a:lnTo>
                    <a:pt x="249225" y="102225"/>
                  </a:lnTo>
                  <a:lnTo>
                    <a:pt x="253690" y="104061"/>
                  </a:lnTo>
                  <a:lnTo>
                    <a:pt x="254712" y="108785"/>
                  </a:lnTo>
                  <a:lnTo>
                    <a:pt x="257833" y="105114"/>
                  </a:lnTo>
                  <a:lnTo>
                    <a:pt x="262648" y="105573"/>
                  </a:lnTo>
                  <a:lnTo>
                    <a:pt x="260119" y="101469"/>
                  </a:lnTo>
                  <a:lnTo>
                    <a:pt x="262056" y="97041"/>
                  </a:lnTo>
                  <a:lnTo>
                    <a:pt x="257348" y="98175"/>
                  </a:lnTo>
                  <a:close/>
                  <a:moveTo>
                    <a:pt x="90749" y="94962"/>
                  </a:moveTo>
                  <a:lnTo>
                    <a:pt x="87118" y="98175"/>
                  </a:lnTo>
                  <a:lnTo>
                    <a:pt x="82340" y="97041"/>
                  </a:lnTo>
                  <a:lnTo>
                    <a:pt x="84333" y="101469"/>
                  </a:lnTo>
                  <a:lnTo>
                    <a:pt x="81739" y="105573"/>
                  </a:lnTo>
                  <a:lnTo>
                    <a:pt x="86626" y="105114"/>
                  </a:lnTo>
                  <a:lnTo>
                    <a:pt x="89793" y="108785"/>
                  </a:lnTo>
                  <a:lnTo>
                    <a:pt x="90831" y="104061"/>
                  </a:lnTo>
                  <a:lnTo>
                    <a:pt x="95363" y="102225"/>
                  </a:lnTo>
                  <a:lnTo>
                    <a:pt x="91131" y="99795"/>
                  </a:lnTo>
                  <a:close/>
                  <a:moveTo>
                    <a:pt x="239015" y="81940"/>
                  </a:moveTo>
                  <a:lnTo>
                    <a:pt x="239501" y="86827"/>
                  </a:lnTo>
                  <a:lnTo>
                    <a:pt x="235802" y="89993"/>
                  </a:lnTo>
                  <a:lnTo>
                    <a:pt x="240527" y="91031"/>
                  </a:lnTo>
                  <a:lnTo>
                    <a:pt x="242363" y="95563"/>
                  </a:lnTo>
                  <a:lnTo>
                    <a:pt x="244792" y="91331"/>
                  </a:lnTo>
                  <a:lnTo>
                    <a:pt x="249625" y="90976"/>
                  </a:lnTo>
                  <a:lnTo>
                    <a:pt x="246413" y="87318"/>
                  </a:lnTo>
                  <a:lnTo>
                    <a:pt x="247546" y="82568"/>
                  </a:lnTo>
                  <a:lnTo>
                    <a:pt x="243119" y="84533"/>
                  </a:lnTo>
                  <a:close/>
                  <a:moveTo>
                    <a:pt x="105372" y="81940"/>
                  </a:moveTo>
                  <a:lnTo>
                    <a:pt x="101268" y="84533"/>
                  </a:lnTo>
                  <a:lnTo>
                    <a:pt x="96841" y="82568"/>
                  </a:lnTo>
                  <a:lnTo>
                    <a:pt x="97975" y="87318"/>
                  </a:lnTo>
                  <a:lnTo>
                    <a:pt x="94762" y="90976"/>
                  </a:lnTo>
                  <a:lnTo>
                    <a:pt x="99594" y="91331"/>
                  </a:lnTo>
                  <a:lnTo>
                    <a:pt x="102024" y="95563"/>
                  </a:lnTo>
                  <a:lnTo>
                    <a:pt x="103860" y="91031"/>
                  </a:lnTo>
                  <a:lnTo>
                    <a:pt x="108585" y="89993"/>
                  </a:lnTo>
                  <a:lnTo>
                    <a:pt x="104886" y="86827"/>
                  </a:lnTo>
                  <a:close/>
                  <a:moveTo>
                    <a:pt x="230910" y="70720"/>
                  </a:moveTo>
                  <a:lnTo>
                    <a:pt x="226879" y="73474"/>
                  </a:lnTo>
                  <a:lnTo>
                    <a:pt x="222361" y="71629"/>
                  </a:lnTo>
                  <a:lnTo>
                    <a:pt x="223687" y="76393"/>
                  </a:lnTo>
                  <a:lnTo>
                    <a:pt x="220576" y="80193"/>
                  </a:lnTo>
                  <a:lnTo>
                    <a:pt x="225418" y="80386"/>
                  </a:lnTo>
                  <a:lnTo>
                    <a:pt x="228015" y="84544"/>
                  </a:lnTo>
                  <a:lnTo>
                    <a:pt x="229692" y="79918"/>
                  </a:lnTo>
                  <a:lnTo>
                    <a:pt x="234399" y="78706"/>
                  </a:lnTo>
                  <a:lnTo>
                    <a:pt x="230585" y="75650"/>
                  </a:lnTo>
                  <a:close/>
                  <a:moveTo>
                    <a:pt x="113678" y="70720"/>
                  </a:moveTo>
                  <a:lnTo>
                    <a:pt x="114002" y="75650"/>
                  </a:lnTo>
                  <a:lnTo>
                    <a:pt x="110188" y="78706"/>
                  </a:lnTo>
                  <a:lnTo>
                    <a:pt x="114895" y="79918"/>
                  </a:lnTo>
                  <a:lnTo>
                    <a:pt x="116572" y="84544"/>
                  </a:lnTo>
                  <a:lnTo>
                    <a:pt x="119169" y="80386"/>
                  </a:lnTo>
                  <a:lnTo>
                    <a:pt x="124011" y="80193"/>
                  </a:lnTo>
                  <a:lnTo>
                    <a:pt x="120900" y="76393"/>
                  </a:lnTo>
                  <a:lnTo>
                    <a:pt x="122226" y="71629"/>
                  </a:lnTo>
                  <a:lnTo>
                    <a:pt x="117708" y="73474"/>
                  </a:lnTo>
                  <a:close/>
                  <a:moveTo>
                    <a:pt x="212334" y="62106"/>
                  </a:moveTo>
                  <a:lnTo>
                    <a:pt x="208828" y="65489"/>
                  </a:lnTo>
                  <a:lnTo>
                    <a:pt x="204046" y="64507"/>
                  </a:lnTo>
                  <a:lnTo>
                    <a:pt x="206165" y="68900"/>
                  </a:lnTo>
                  <a:lnTo>
                    <a:pt x="203747" y="73156"/>
                  </a:lnTo>
                  <a:lnTo>
                    <a:pt x="208584" y="72501"/>
                  </a:lnTo>
                  <a:lnTo>
                    <a:pt x="211844" y="76130"/>
                  </a:lnTo>
                  <a:lnTo>
                    <a:pt x="212714" y="71301"/>
                  </a:lnTo>
                  <a:lnTo>
                    <a:pt x="217170" y="69282"/>
                  </a:lnTo>
                  <a:lnTo>
                    <a:pt x="212877" y="66962"/>
                  </a:lnTo>
                  <a:close/>
                  <a:moveTo>
                    <a:pt x="132182" y="62106"/>
                  </a:moveTo>
                  <a:lnTo>
                    <a:pt x="131646" y="66962"/>
                  </a:lnTo>
                  <a:lnTo>
                    <a:pt x="127417" y="69282"/>
                  </a:lnTo>
                  <a:lnTo>
                    <a:pt x="131807" y="71301"/>
                  </a:lnTo>
                  <a:lnTo>
                    <a:pt x="132663" y="76130"/>
                  </a:lnTo>
                  <a:lnTo>
                    <a:pt x="135875" y="72501"/>
                  </a:lnTo>
                  <a:lnTo>
                    <a:pt x="140640" y="73156"/>
                  </a:lnTo>
                  <a:lnTo>
                    <a:pt x="138258" y="68900"/>
                  </a:lnTo>
                  <a:lnTo>
                    <a:pt x="140345" y="64507"/>
                  </a:lnTo>
                  <a:lnTo>
                    <a:pt x="135635" y="65489"/>
                  </a:lnTo>
                  <a:close/>
                  <a:moveTo>
                    <a:pt x="192615" y="56897"/>
                  </a:moveTo>
                  <a:lnTo>
                    <a:pt x="189761" y="60835"/>
                  </a:lnTo>
                  <a:lnTo>
                    <a:pt x="184915" y="60672"/>
                  </a:lnTo>
                  <a:lnTo>
                    <a:pt x="187742" y="64637"/>
                  </a:lnTo>
                  <a:lnTo>
                    <a:pt x="186127" y="69227"/>
                  </a:lnTo>
                  <a:lnTo>
                    <a:pt x="190704" y="67733"/>
                  </a:lnTo>
                  <a:lnTo>
                    <a:pt x="194527" y="70720"/>
                  </a:lnTo>
                  <a:lnTo>
                    <a:pt x="194554" y="65832"/>
                  </a:lnTo>
                  <a:lnTo>
                    <a:pt x="198538" y="63089"/>
                  </a:lnTo>
                  <a:lnTo>
                    <a:pt x="193961" y="61568"/>
                  </a:lnTo>
                  <a:close/>
                  <a:moveTo>
                    <a:pt x="151859" y="56897"/>
                  </a:moveTo>
                  <a:lnTo>
                    <a:pt x="150493" y="61568"/>
                  </a:lnTo>
                  <a:lnTo>
                    <a:pt x="145849" y="63089"/>
                  </a:lnTo>
                  <a:lnTo>
                    <a:pt x="149892" y="65832"/>
                  </a:lnTo>
                  <a:lnTo>
                    <a:pt x="149919" y="70720"/>
                  </a:lnTo>
                  <a:lnTo>
                    <a:pt x="153798" y="67733"/>
                  </a:lnTo>
                  <a:lnTo>
                    <a:pt x="158443" y="69227"/>
                  </a:lnTo>
                  <a:lnTo>
                    <a:pt x="156804" y="64637"/>
                  </a:lnTo>
                  <a:lnTo>
                    <a:pt x="159672" y="60672"/>
                  </a:lnTo>
                  <a:lnTo>
                    <a:pt x="154755" y="60835"/>
                  </a:lnTo>
                  <a:close/>
                  <a:moveTo>
                    <a:pt x="172307" y="55094"/>
                  </a:moveTo>
                  <a:lnTo>
                    <a:pt x="170121" y="59447"/>
                  </a:lnTo>
                  <a:lnTo>
                    <a:pt x="165282" y="60150"/>
                  </a:lnTo>
                  <a:lnTo>
                    <a:pt x="168781" y="63530"/>
                  </a:lnTo>
                  <a:lnTo>
                    <a:pt x="167961" y="68316"/>
                  </a:lnTo>
                  <a:lnTo>
                    <a:pt x="172307" y="66045"/>
                  </a:lnTo>
                  <a:lnTo>
                    <a:pt x="176627" y="68316"/>
                  </a:lnTo>
                  <a:lnTo>
                    <a:pt x="175806" y="63530"/>
                  </a:lnTo>
                  <a:lnTo>
                    <a:pt x="179306" y="60150"/>
                  </a:lnTo>
                  <a:lnTo>
                    <a:pt x="174467" y="59447"/>
                  </a:lnTo>
                  <a:close/>
                  <a:moveTo>
                    <a:pt x="171615" y="48293"/>
                  </a:moveTo>
                  <a:cubicBezTo>
                    <a:pt x="239051" y="48293"/>
                    <a:pt x="293719" y="102961"/>
                    <a:pt x="293719" y="170398"/>
                  </a:cubicBezTo>
                  <a:cubicBezTo>
                    <a:pt x="293719" y="237834"/>
                    <a:pt x="239051" y="292503"/>
                    <a:pt x="171615" y="292503"/>
                  </a:cubicBezTo>
                  <a:cubicBezTo>
                    <a:pt x="104179" y="292503"/>
                    <a:pt x="49510" y="237834"/>
                    <a:pt x="49510" y="170398"/>
                  </a:cubicBezTo>
                  <a:cubicBezTo>
                    <a:pt x="49510" y="102961"/>
                    <a:pt x="104179" y="48293"/>
                    <a:pt x="171615" y="48293"/>
                  </a:cubicBezTo>
                  <a:close/>
                  <a:moveTo>
                    <a:pt x="171615" y="34348"/>
                  </a:moveTo>
                  <a:cubicBezTo>
                    <a:pt x="96477" y="34348"/>
                    <a:pt x="35565" y="95260"/>
                    <a:pt x="35565" y="170398"/>
                  </a:cubicBezTo>
                  <a:cubicBezTo>
                    <a:pt x="35565" y="245536"/>
                    <a:pt x="96477" y="306448"/>
                    <a:pt x="171615" y="306448"/>
                  </a:cubicBezTo>
                  <a:cubicBezTo>
                    <a:pt x="246753" y="306448"/>
                    <a:pt x="307665" y="245536"/>
                    <a:pt x="307665" y="170398"/>
                  </a:cubicBezTo>
                  <a:cubicBezTo>
                    <a:pt x="307665" y="95260"/>
                    <a:pt x="246753" y="34348"/>
                    <a:pt x="171615" y="34348"/>
                  </a:cubicBezTo>
                  <a:close/>
                  <a:moveTo>
                    <a:pt x="172307" y="0"/>
                  </a:moveTo>
                  <a:cubicBezTo>
                    <a:pt x="186784" y="0"/>
                    <a:pt x="198956" y="17777"/>
                    <a:pt x="212700" y="21468"/>
                  </a:cubicBezTo>
                  <a:cubicBezTo>
                    <a:pt x="226580" y="25187"/>
                    <a:pt x="246018" y="15932"/>
                    <a:pt x="258434" y="23124"/>
                  </a:cubicBezTo>
                  <a:cubicBezTo>
                    <a:pt x="270768" y="30235"/>
                    <a:pt x="272476" y="51703"/>
                    <a:pt x="282724" y="61936"/>
                  </a:cubicBezTo>
                  <a:cubicBezTo>
                    <a:pt x="292944" y="72195"/>
                    <a:pt x="314387" y="73905"/>
                    <a:pt x="321490" y="86254"/>
                  </a:cubicBezTo>
                  <a:cubicBezTo>
                    <a:pt x="328674" y="98684"/>
                    <a:pt x="319430" y="118144"/>
                    <a:pt x="323144" y="132040"/>
                  </a:cubicBezTo>
                  <a:cubicBezTo>
                    <a:pt x="326831" y="145801"/>
                    <a:pt x="344587" y="158014"/>
                    <a:pt x="344587" y="172508"/>
                  </a:cubicBezTo>
                  <a:cubicBezTo>
                    <a:pt x="344587" y="187001"/>
                    <a:pt x="326831" y="199214"/>
                    <a:pt x="323144" y="212975"/>
                  </a:cubicBezTo>
                  <a:cubicBezTo>
                    <a:pt x="319430" y="226844"/>
                    <a:pt x="328674" y="246304"/>
                    <a:pt x="321490" y="258734"/>
                  </a:cubicBezTo>
                  <a:cubicBezTo>
                    <a:pt x="314387" y="271083"/>
                    <a:pt x="292944" y="272793"/>
                    <a:pt x="282724" y="283052"/>
                  </a:cubicBezTo>
                  <a:cubicBezTo>
                    <a:pt x="272476" y="293312"/>
                    <a:pt x="270768" y="314753"/>
                    <a:pt x="258434" y="321891"/>
                  </a:cubicBezTo>
                  <a:cubicBezTo>
                    <a:pt x="246018" y="329056"/>
                    <a:pt x="226580" y="319801"/>
                    <a:pt x="212700" y="323520"/>
                  </a:cubicBezTo>
                  <a:cubicBezTo>
                    <a:pt x="198956" y="327211"/>
                    <a:pt x="186784" y="344988"/>
                    <a:pt x="172307" y="344988"/>
                  </a:cubicBezTo>
                  <a:cubicBezTo>
                    <a:pt x="157804" y="344988"/>
                    <a:pt x="145632" y="327211"/>
                    <a:pt x="131887" y="323520"/>
                  </a:cubicBezTo>
                  <a:cubicBezTo>
                    <a:pt x="118007" y="319801"/>
                    <a:pt x="98570" y="329056"/>
                    <a:pt x="86154" y="321891"/>
                  </a:cubicBezTo>
                  <a:cubicBezTo>
                    <a:pt x="73819" y="314753"/>
                    <a:pt x="72111" y="293312"/>
                    <a:pt x="61864" y="283052"/>
                  </a:cubicBezTo>
                  <a:cubicBezTo>
                    <a:pt x="51644" y="272793"/>
                    <a:pt x="30200" y="271083"/>
                    <a:pt x="23097" y="258734"/>
                  </a:cubicBezTo>
                  <a:cubicBezTo>
                    <a:pt x="15913" y="246304"/>
                    <a:pt x="25158" y="226844"/>
                    <a:pt x="21444" y="212975"/>
                  </a:cubicBezTo>
                  <a:cubicBezTo>
                    <a:pt x="17757" y="199214"/>
                    <a:pt x="0" y="187001"/>
                    <a:pt x="0" y="172508"/>
                  </a:cubicBezTo>
                  <a:cubicBezTo>
                    <a:pt x="0" y="158014"/>
                    <a:pt x="17757" y="145801"/>
                    <a:pt x="21444" y="132040"/>
                  </a:cubicBezTo>
                  <a:cubicBezTo>
                    <a:pt x="25158" y="118144"/>
                    <a:pt x="15913" y="98684"/>
                    <a:pt x="23097" y="86254"/>
                  </a:cubicBezTo>
                  <a:cubicBezTo>
                    <a:pt x="30200" y="73905"/>
                    <a:pt x="51644" y="72195"/>
                    <a:pt x="61864" y="61936"/>
                  </a:cubicBezTo>
                  <a:cubicBezTo>
                    <a:pt x="72111" y="51703"/>
                    <a:pt x="73819" y="30235"/>
                    <a:pt x="86154" y="23124"/>
                  </a:cubicBezTo>
                  <a:cubicBezTo>
                    <a:pt x="98570" y="15932"/>
                    <a:pt x="118007" y="25187"/>
                    <a:pt x="131887" y="21468"/>
                  </a:cubicBezTo>
                  <a:cubicBezTo>
                    <a:pt x="145632" y="17777"/>
                    <a:pt x="157804" y="0"/>
                    <a:pt x="172307" y="0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" name="Freeform 352">
              <a:extLst>
                <a:ext uri="{FF2B5EF4-FFF2-40B4-BE49-F238E27FC236}">
                  <a16:creationId xmlns:a16="http://schemas.microsoft.com/office/drawing/2014/main" id="{02E74E3F-674C-468C-B05E-B8BF34A8AB86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6243" y="443760"/>
              <a:ext cx="145448" cy="207954"/>
            </a:xfrm>
            <a:custGeom>
              <a:avLst/>
              <a:gdLst>
                <a:gd name="T0" fmla="*/ 3234 w 5365"/>
                <a:gd name="T1" fmla="*/ 384 h 7662"/>
                <a:gd name="T2" fmla="*/ 1547 w 5365"/>
                <a:gd name="T3" fmla="*/ 444 h 7662"/>
                <a:gd name="T4" fmla="*/ 57 w 5365"/>
                <a:gd name="T5" fmla="*/ 1235 h 7662"/>
                <a:gd name="T6" fmla="*/ 0 w 5365"/>
                <a:gd name="T7" fmla="*/ 1233 h 7662"/>
                <a:gd name="T8" fmla="*/ 1722 w 5365"/>
                <a:gd name="T9" fmla="*/ 7662 h 7662"/>
                <a:gd name="T10" fmla="*/ 3185 w 5365"/>
                <a:gd name="T11" fmla="*/ 5834 h 7662"/>
                <a:gd name="T12" fmla="*/ 5365 w 5365"/>
                <a:gd name="T13" fmla="*/ 6686 h 7662"/>
                <a:gd name="T14" fmla="*/ 3574 w 5365"/>
                <a:gd name="T15" fmla="*/ 0 h 7662"/>
                <a:gd name="T16" fmla="*/ 3234 w 5365"/>
                <a:gd name="T17" fmla="*/ 384 h 76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365" h="7662">
                  <a:moveTo>
                    <a:pt x="3234" y="384"/>
                  </a:moveTo>
                  <a:cubicBezTo>
                    <a:pt x="2776" y="649"/>
                    <a:pt x="2059" y="307"/>
                    <a:pt x="1547" y="444"/>
                  </a:cubicBezTo>
                  <a:cubicBezTo>
                    <a:pt x="1040" y="580"/>
                    <a:pt x="591" y="1235"/>
                    <a:pt x="57" y="1235"/>
                  </a:cubicBezTo>
                  <a:cubicBezTo>
                    <a:pt x="37" y="1235"/>
                    <a:pt x="18" y="1235"/>
                    <a:pt x="0" y="1233"/>
                  </a:cubicBezTo>
                  <a:lnTo>
                    <a:pt x="1722" y="7662"/>
                  </a:lnTo>
                  <a:lnTo>
                    <a:pt x="3185" y="5834"/>
                  </a:lnTo>
                  <a:lnTo>
                    <a:pt x="5365" y="6686"/>
                  </a:lnTo>
                  <a:lnTo>
                    <a:pt x="3574" y="0"/>
                  </a:lnTo>
                  <a:cubicBezTo>
                    <a:pt x="3485" y="162"/>
                    <a:pt x="3380" y="300"/>
                    <a:pt x="3234" y="384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" name="Freeform 353">
              <a:extLst>
                <a:ext uri="{FF2B5EF4-FFF2-40B4-BE49-F238E27FC236}">
                  <a16:creationId xmlns:a16="http://schemas.microsoft.com/office/drawing/2014/main" id="{DAD1C763-E31E-4212-98CA-65F48FEFF261}"/>
                </a:ext>
              </a:extLst>
            </p:cNvPr>
            <p:cNvSpPr>
              <a:spLocks/>
            </p:cNvSpPr>
            <p:nvPr/>
          </p:nvSpPr>
          <p:spPr bwMode="auto">
            <a:xfrm>
              <a:off x="2608373" y="443760"/>
              <a:ext cx="145448" cy="207954"/>
            </a:xfrm>
            <a:custGeom>
              <a:avLst/>
              <a:gdLst>
                <a:gd name="T0" fmla="*/ 2131 w 5366"/>
                <a:gd name="T1" fmla="*/ 384 h 7662"/>
                <a:gd name="T2" fmla="*/ 3818 w 5366"/>
                <a:gd name="T3" fmla="*/ 444 h 7662"/>
                <a:gd name="T4" fmla="*/ 5308 w 5366"/>
                <a:gd name="T5" fmla="*/ 1235 h 7662"/>
                <a:gd name="T6" fmla="*/ 5366 w 5366"/>
                <a:gd name="T7" fmla="*/ 1233 h 7662"/>
                <a:gd name="T8" fmla="*/ 3643 w 5366"/>
                <a:gd name="T9" fmla="*/ 7662 h 7662"/>
                <a:gd name="T10" fmla="*/ 2180 w 5366"/>
                <a:gd name="T11" fmla="*/ 5834 h 7662"/>
                <a:gd name="T12" fmla="*/ 0 w 5366"/>
                <a:gd name="T13" fmla="*/ 6686 h 7662"/>
                <a:gd name="T14" fmla="*/ 1791 w 5366"/>
                <a:gd name="T15" fmla="*/ 0 h 7662"/>
                <a:gd name="T16" fmla="*/ 2131 w 5366"/>
                <a:gd name="T17" fmla="*/ 384 h 76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366" h="7662">
                  <a:moveTo>
                    <a:pt x="2131" y="384"/>
                  </a:moveTo>
                  <a:cubicBezTo>
                    <a:pt x="2589" y="649"/>
                    <a:pt x="3306" y="307"/>
                    <a:pt x="3818" y="444"/>
                  </a:cubicBezTo>
                  <a:cubicBezTo>
                    <a:pt x="4325" y="580"/>
                    <a:pt x="4774" y="1235"/>
                    <a:pt x="5308" y="1235"/>
                  </a:cubicBezTo>
                  <a:cubicBezTo>
                    <a:pt x="5328" y="1235"/>
                    <a:pt x="5347" y="1235"/>
                    <a:pt x="5366" y="1233"/>
                  </a:cubicBezTo>
                  <a:lnTo>
                    <a:pt x="3643" y="7662"/>
                  </a:lnTo>
                  <a:lnTo>
                    <a:pt x="2180" y="5834"/>
                  </a:lnTo>
                  <a:lnTo>
                    <a:pt x="0" y="6686"/>
                  </a:lnTo>
                  <a:lnTo>
                    <a:pt x="1791" y="0"/>
                  </a:lnTo>
                  <a:cubicBezTo>
                    <a:pt x="1880" y="162"/>
                    <a:pt x="1985" y="300"/>
                    <a:pt x="2131" y="384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48531317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AEFCB68E-E041-4E46-A233-3C2208DA32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53363" y="365760"/>
            <a:ext cx="9367203" cy="1188720"/>
          </a:xfrm>
        </p:spPr>
        <p:txBody>
          <a:bodyPr>
            <a:normAutofit/>
          </a:bodyPr>
          <a:lstStyle/>
          <a:p>
            <a:r>
              <a:rPr lang="fr-FR" dirty="0"/>
              <a:t>Comptabilisation - principes</a:t>
            </a:r>
          </a:p>
        </p:txBody>
      </p:sp>
      <p:sp>
        <p:nvSpPr>
          <p:cNvPr id="8" name="Freeform: Shape 7">
            <a:extLst>
              <a:ext uri="{FF2B5EF4-FFF2-40B4-BE49-F238E27FC236}">
                <a16:creationId xmlns:a16="http://schemas.microsoft.com/office/drawing/2014/main" id="{7CB4857B-ED7C-444D-9F04-2F885114A1C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" y="0"/>
            <a:ext cx="1764099" cy="1558212"/>
          </a:xfrm>
          <a:custGeom>
            <a:avLst/>
            <a:gdLst>
              <a:gd name="connsiteX0" fmla="*/ 0 w 1764099"/>
              <a:gd name="connsiteY0" fmla="*/ 0 h 1558212"/>
              <a:gd name="connsiteX1" fmla="*/ 1764099 w 1764099"/>
              <a:gd name="connsiteY1" fmla="*/ 0 h 1558212"/>
              <a:gd name="connsiteX2" fmla="*/ 1042087 w 1764099"/>
              <a:gd name="connsiteY2" fmla="*/ 1558212 h 1558212"/>
              <a:gd name="connsiteX3" fmla="*/ 0 w 1764099"/>
              <a:gd name="connsiteY3" fmla="*/ 1558212 h 15582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764099" h="1558212">
                <a:moveTo>
                  <a:pt x="0" y="0"/>
                </a:moveTo>
                <a:lnTo>
                  <a:pt x="1764099" y="0"/>
                </a:lnTo>
                <a:lnTo>
                  <a:pt x="1042087" y="1558212"/>
                </a:lnTo>
                <a:lnTo>
                  <a:pt x="0" y="1558212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D18046FB-44EA-4FD8-A585-EA09A319B2D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" y="1691640"/>
            <a:ext cx="12191999" cy="5166360"/>
          </a:xfrm>
          <a:custGeom>
            <a:avLst/>
            <a:gdLst>
              <a:gd name="connsiteX0" fmla="*/ 0 w 12191999"/>
              <a:gd name="connsiteY0" fmla="*/ 0 h 5166360"/>
              <a:gd name="connsiteX1" fmla="*/ 1822388 w 12191999"/>
              <a:gd name="connsiteY1" fmla="*/ 0 h 5166360"/>
              <a:gd name="connsiteX2" fmla="*/ 6468290 w 12191999"/>
              <a:gd name="connsiteY2" fmla="*/ 0 h 5166360"/>
              <a:gd name="connsiteX3" fmla="*/ 7796394 w 12191999"/>
              <a:gd name="connsiteY3" fmla="*/ 0 h 5166360"/>
              <a:gd name="connsiteX4" fmla="*/ 8376834 w 12191999"/>
              <a:gd name="connsiteY4" fmla="*/ 0 h 5166360"/>
              <a:gd name="connsiteX5" fmla="*/ 9704938 w 12191999"/>
              <a:gd name="connsiteY5" fmla="*/ 0 h 5166360"/>
              <a:gd name="connsiteX6" fmla="*/ 9704938 w 12191999"/>
              <a:gd name="connsiteY6" fmla="*/ 2 h 5166360"/>
              <a:gd name="connsiteX7" fmla="*/ 10283456 w 12191999"/>
              <a:gd name="connsiteY7" fmla="*/ 2 h 5166360"/>
              <a:gd name="connsiteX8" fmla="*/ 10863897 w 12191999"/>
              <a:gd name="connsiteY8" fmla="*/ 2 h 5166360"/>
              <a:gd name="connsiteX9" fmla="*/ 12191999 w 12191999"/>
              <a:gd name="connsiteY9" fmla="*/ 2 h 5166360"/>
              <a:gd name="connsiteX10" fmla="*/ 12191999 w 12191999"/>
              <a:gd name="connsiteY10" fmla="*/ 5166360 h 5166360"/>
              <a:gd name="connsiteX11" fmla="*/ 0 w 12191999"/>
              <a:gd name="connsiteY11" fmla="*/ 5166360 h 5166360"/>
              <a:gd name="connsiteX12" fmla="*/ 0 w 12191999"/>
              <a:gd name="connsiteY12" fmla="*/ 2604436 h 5166360"/>
              <a:gd name="connsiteX13" fmla="*/ 862341 w 12191999"/>
              <a:gd name="connsiteY13" fmla="*/ 743371 h 5166360"/>
              <a:gd name="connsiteX14" fmla="*/ 0 w 12191999"/>
              <a:gd name="connsiteY14" fmla="*/ 743371 h 5166360"/>
              <a:gd name="connsiteX15" fmla="*/ 0 w 12191999"/>
              <a:gd name="connsiteY15" fmla="*/ 742508 h 5166360"/>
              <a:gd name="connsiteX16" fmla="*/ 92826 w 12191999"/>
              <a:gd name="connsiteY16" fmla="*/ 742508 h 5166360"/>
              <a:gd name="connsiteX17" fmla="*/ 406486 w 12191999"/>
              <a:gd name="connsiteY17" fmla="*/ 742508 h 5166360"/>
              <a:gd name="connsiteX18" fmla="*/ 406486 w 12191999"/>
              <a:gd name="connsiteY18" fmla="*/ 742507 h 5166360"/>
              <a:gd name="connsiteX19" fmla="*/ 862741 w 12191999"/>
              <a:gd name="connsiteY19" fmla="*/ 742507 h 5166360"/>
              <a:gd name="connsiteX20" fmla="*/ 1206388 w 12191999"/>
              <a:gd name="connsiteY20" fmla="*/ 864 h 5166360"/>
              <a:gd name="connsiteX21" fmla="*/ 748500 w 12191999"/>
              <a:gd name="connsiteY21" fmla="*/ 864 h 5166360"/>
              <a:gd name="connsiteX22" fmla="*/ 0 w 12191999"/>
              <a:gd name="connsiteY22" fmla="*/ 864 h 51663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12191999" h="5166360">
                <a:moveTo>
                  <a:pt x="0" y="0"/>
                </a:moveTo>
                <a:lnTo>
                  <a:pt x="1822388" y="0"/>
                </a:lnTo>
                <a:lnTo>
                  <a:pt x="6468290" y="0"/>
                </a:lnTo>
                <a:lnTo>
                  <a:pt x="7796394" y="0"/>
                </a:lnTo>
                <a:lnTo>
                  <a:pt x="8376834" y="0"/>
                </a:lnTo>
                <a:lnTo>
                  <a:pt x="9704938" y="0"/>
                </a:lnTo>
                <a:lnTo>
                  <a:pt x="9704938" y="2"/>
                </a:lnTo>
                <a:lnTo>
                  <a:pt x="10283456" y="2"/>
                </a:lnTo>
                <a:lnTo>
                  <a:pt x="10863897" y="2"/>
                </a:lnTo>
                <a:lnTo>
                  <a:pt x="12191999" y="2"/>
                </a:lnTo>
                <a:lnTo>
                  <a:pt x="12191999" y="5166360"/>
                </a:lnTo>
                <a:lnTo>
                  <a:pt x="0" y="5166360"/>
                </a:lnTo>
                <a:lnTo>
                  <a:pt x="0" y="2604436"/>
                </a:lnTo>
                <a:lnTo>
                  <a:pt x="862341" y="743371"/>
                </a:lnTo>
                <a:lnTo>
                  <a:pt x="0" y="743371"/>
                </a:lnTo>
                <a:lnTo>
                  <a:pt x="0" y="742508"/>
                </a:lnTo>
                <a:lnTo>
                  <a:pt x="92826" y="742508"/>
                </a:lnTo>
                <a:lnTo>
                  <a:pt x="406486" y="742508"/>
                </a:lnTo>
                <a:lnTo>
                  <a:pt x="406486" y="742507"/>
                </a:lnTo>
                <a:lnTo>
                  <a:pt x="862741" y="742507"/>
                </a:lnTo>
                <a:lnTo>
                  <a:pt x="1206388" y="864"/>
                </a:lnTo>
                <a:lnTo>
                  <a:pt x="748500" y="864"/>
                </a:lnTo>
                <a:lnTo>
                  <a:pt x="0" y="864"/>
                </a:lnTo>
                <a:close/>
              </a:path>
            </a:pathLst>
          </a:custGeom>
          <a:solidFill>
            <a:srgbClr val="A6A6A6">
              <a:alpha val="4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479F5F2B-8B58-4140-AE6A-51F6C67B18D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1691641"/>
            <a:ext cx="971654" cy="2096979"/>
          </a:xfrm>
          <a:custGeom>
            <a:avLst/>
            <a:gdLst>
              <a:gd name="connsiteX0" fmla="*/ 0 w 971654"/>
              <a:gd name="connsiteY0" fmla="*/ 0 h 2096979"/>
              <a:gd name="connsiteX1" fmla="*/ 971654 w 971654"/>
              <a:gd name="connsiteY1" fmla="*/ 0 h 2096979"/>
              <a:gd name="connsiteX2" fmla="*/ 0 w 971654"/>
              <a:gd name="connsiteY2" fmla="*/ 2096979 h 20969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971654" h="2096979">
                <a:moveTo>
                  <a:pt x="0" y="0"/>
                </a:moveTo>
                <a:lnTo>
                  <a:pt x="971654" y="0"/>
                </a:lnTo>
                <a:lnTo>
                  <a:pt x="0" y="2096979"/>
                </a:lnTo>
                <a:close/>
              </a:path>
            </a:pathLst>
          </a:custGeom>
          <a:solidFill>
            <a:srgbClr val="40404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9FA71A85-160A-4CFF-9241-BA71D421B86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48070" y="1920240"/>
            <a:ext cx="11408095" cy="4868186"/>
          </a:xfrm>
        </p:spPr>
        <p:txBody>
          <a:bodyPr anchor="t">
            <a:normAutofit/>
          </a:bodyPr>
          <a:lstStyle/>
          <a:p>
            <a:pPr marL="0" indent="0">
              <a:buNone/>
            </a:pPr>
            <a:r>
              <a:rPr lang="fr-FR" sz="13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 </a:t>
            </a:r>
          </a:p>
          <a:p>
            <a:pPr algn="just"/>
            <a:r>
              <a:rPr lang="fr-FR" sz="20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Pour traduire comptablement chaque opération on doit "passer" des écritures.</a:t>
            </a:r>
          </a:p>
          <a:p>
            <a:pPr algn="just"/>
            <a:endParaRPr lang="fr-FR" sz="2000" dirty="0">
              <a:effectLst/>
              <a:latin typeface="Verdana" panose="020B060403050404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just"/>
            <a:r>
              <a:rPr lang="fr-FR" sz="20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Pour passer des écritures on doit faire intervenir </a:t>
            </a:r>
            <a:r>
              <a:rPr lang="fr-FR" sz="2000" b="1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au moins</a:t>
            </a:r>
            <a:r>
              <a:rPr lang="fr-FR" sz="20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deux comptes du P.C.G.</a:t>
            </a:r>
          </a:p>
          <a:p>
            <a:pPr marL="0" indent="0" algn="just">
              <a:buNone/>
            </a:pPr>
            <a:r>
              <a:rPr lang="fr-FR" sz="20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 </a:t>
            </a:r>
          </a:p>
          <a:p>
            <a:pPr algn="just"/>
            <a:r>
              <a:rPr lang="fr-FR" sz="20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	=&gt; Un compte (ou des comptes) que l’on va débiter </a:t>
            </a:r>
            <a:r>
              <a:rPr lang="fr-FR" sz="2000" dirty="0" err="1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i.e</a:t>
            </a:r>
            <a:r>
              <a:rPr lang="fr-FR" sz="20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inscrire au débit</a:t>
            </a:r>
          </a:p>
          <a:p>
            <a:pPr marL="0" indent="0" algn="just">
              <a:buNone/>
            </a:pPr>
            <a:r>
              <a:rPr lang="fr-FR" sz="20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 </a:t>
            </a:r>
          </a:p>
          <a:p>
            <a:pPr algn="just"/>
            <a:r>
              <a:rPr lang="fr-FR" sz="20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	=&gt;</a:t>
            </a:r>
            <a:r>
              <a:rPr lang="fr-FR" sz="2000" b="1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ET</a:t>
            </a:r>
            <a:r>
              <a:rPr lang="fr-FR" sz="20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un compte (ou des comptes) que l’on va créditer </a:t>
            </a:r>
            <a:r>
              <a:rPr lang="fr-FR" sz="2000" dirty="0" err="1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i.e</a:t>
            </a:r>
            <a:r>
              <a:rPr lang="fr-FR" sz="20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inscrire au crédit</a:t>
            </a:r>
          </a:p>
          <a:p>
            <a:pPr marL="0" indent="0" algn="just">
              <a:buNone/>
            </a:pPr>
            <a:r>
              <a:rPr lang="fr-FR" sz="18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 </a:t>
            </a:r>
          </a:p>
          <a:p>
            <a:pPr algn="just"/>
            <a:r>
              <a:rPr lang="fr-FR" sz="3200" dirty="0">
                <a:solidFill>
                  <a:srgbClr val="FF0000"/>
                </a:solidFill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Attention  : ∑ des débits  = ∑ somme des crédits !</a:t>
            </a:r>
          </a:p>
          <a:p>
            <a:endParaRPr lang="fr-FR" sz="1300" dirty="0"/>
          </a:p>
        </p:txBody>
      </p:sp>
    </p:spTree>
    <p:extLst>
      <p:ext uri="{BB962C8B-B14F-4D97-AF65-F5344CB8AC3E}">
        <p14:creationId xmlns:p14="http://schemas.microsoft.com/office/powerpoint/2010/main" val="424642015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AEFCB68E-E041-4E46-A233-3C2208DA32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53363" y="365760"/>
            <a:ext cx="9367203" cy="1188720"/>
          </a:xfrm>
        </p:spPr>
        <p:txBody>
          <a:bodyPr>
            <a:normAutofit/>
          </a:bodyPr>
          <a:lstStyle/>
          <a:p>
            <a:r>
              <a:rPr lang="fr-FR" dirty="0"/>
              <a:t>Comptabilisation - principes</a:t>
            </a:r>
          </a:p>
        </p:txBody>
      </p:sp>
      <p:sp>
        <p:nvSpPr>
          <p:cNvPr id="8" name="Freeform: Shape 7">
            <a:extLst>
              <a:ext uri="{FF2B5EF4-FFF2-40B4-BE49-F238E27FC236}">
                <a16:creationId xmlns:a16="http://schemas.microsoft.com/office/drawing/2014/main" id="{7CB4857B-ED7C-444D-9F04-2F885114A1C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" y="0"/>
            <a:ext cx="1764099" cy="1558212"/>
          </a:xfrm>
          <a:custGeom>
            <a:avLst/>
            <a:gdLst>
              <a:gd name="connsiteX0" fmla="*/ 0 w 1764099"/>
              <a:gd name="connsiteY0" fmla="*/ 0 h 1558212"/>
              <a:gd name="connsiteX1" fmla="*/ 1764099 w 1764099"/>
              <a:gd name="connsiteY1" fmla="*/ 0 h 1558212"/>
              <a:gd name="connsiteX2" fmla="*/ 1042087 w 1764099"/>
              <a:gd name="connsiteY2" fmla="*/ 1558212 h 1558212"/>
              <a:gd name="connsiteX3" fmla="*/ 0 w 1764099"/>
              <a:gd name="connsiteY3" fmla="*/ 1558212 h 15582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764099" h="1558212">
                <a:moveTo>
                  <a:pt x="0" y="0"/>
                </a:moveTo>
                <a:lnTo>
                  <a:pt x="1764099" y="0"/>
                </a:lnTo>
                <a:lnTo>
                  <a:pt x="1042087" y="1558212"/>
                </a:lnTo>
                <a:lnTo>
                  <a:pt x="0" y="1558212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D18046FB-44EA-4FD8-A585-EA09A319B2D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" y="1691640"/>
            <a:ext cx="12191999" cy="5166360"/>
          </a:xfrm>
          <a:custGeom>
            <a:avLst/>
            <a:gdLst>
              <a:gd name="connsiteX0" fmla="*/ 0 w 12191999"/>
              <a:gd name="connsiteY0" fmla="*/ 0 h 5166360"/>
              <a:gd name="connsiteX1" fmla="*/ 1822388 w 12191999"/>
              <a:gd name="connsiteY1" fmla="*/ 0 h 5166360"/>
              <a:gd name="connsiteX2" fmla="*/ 6468290 w 12191999"/>
              <a:gd name="connsiteY2" fmla="*/ 0 h 5166360"/>
              <a:gd name="connsiteX3" fmla="*/ 7796394 w 12191999"/>
              <a:gd name="connsiteY3" fmla="*/ 0 h 5166360"/>
              <a:gd name="connsiteX4" fmla="*/ 8376834 w 12191999"/>
              <a:gd name="connsiteY4" fmla="*/ 0 h 5166360"/>
              <a:gd name="connsiteX5" fmla="*/ 9704938 w 12191999"/>
              <a:gd name="connsiteY5" fmla="*/ 0 h 5166360"/>
              <a:gd name="connsiteX6" fmla="*/ 9704938 w 12191999"/>
              <a:gd name="connsiteY6" fmla="*/ 2 h 5166360"/>
              <a:gd name="connsiteX7" fmla="*/ 10283456 w 12191999"/>
              <a:gd name="connsiteY7" fmla="*/ 2 h 5166360"/>
              <a:gd name="connsiteX8" fmla="*/ 10863897 w 12191999"/>
              <a:gd name="connsiteY8" fmla="*/ 2 h 5166360"/>
              <a:gd name="connsiteX9" fmla="*/ 12191999 w 12191999"/>
              <a:gd name="connsiteY9" fmla="*/ 2 h 5166360"/>
              <a:gd name="connsiteX10" fmla="*/ 12191999 w 12191999"/>
              <a:gd name="connsiteY10" fmla="*/ 5166360 h 5166360"/>
              <a:gd name="connsiteX11" fmla="*/ 0 w 12191999"/>
              <a:gd name="connsiteY11" fmla="*/ 5166360 h 5166360"/>
              <a:gd name="connsiteX12" fmla="*/ 0 w 12191999"/>
              <a:gd name="connsiteY12" fmla="*/ 2604436 h 5166360"/>
              <a:gd name="connsiteX13" fmla="*/ 862341 w 12191999"/>
              <a:gd name="connsiteY13" fmla="*/ 743371 h 5166360"/>
              <a:gd name="connsiteX14" fmla="*/ 0 w 12191999"/>
              <a:gd name="connsiteY14" fmla="*/ 743371 h 5166360"/>
              <a:gd name="connsiteX15" fmla="*/ 0 w 12191999"/>
              <a:gd name="connsiteY15" fmla="*/ 742508 h 5166360"/>
              <a:gd name="connsiteX16" fmla="*/ 92826 w 12191999"/>
              <a:gd name="connsiteY16" fmla="*/ 742508 h 5166360"/>
              <a:gd name="connsiteX17" fmla="*/ 406486 w 12191999"/>
              <a:gd name="connsiteY17" fmla="*/ 742508 h 5166360"/>
              <a:gd name="connsiteX18" fmla="*/ 406486 w 12191999"/>
              <a:gd name="connsiteY18" fmla="*/ 742507 h 5166360"/>
              <a:gd name="connsiteX19" fmla="*/ 862741 w 12191999"/>
              <a:gd name="connsiteY19" fmla="*/ 742507 h 5166360"/>
              <a:gd name="connsiteX20" fmla="*/ 1206388 w 12191999"/>
              <a:gd name="connsiteY20" fmla="*/ 864 h 5166360"/>
              <a:gd name="connsiteX21" fmla="*/ 748500 w 12191999"/>
              <a:gd name="connsiteY21" fmla="*/ 864 h 5166360"/>
              <a:gd name="connsiteX22" fmla="*/ 0 w 12191999"/>
              <a:gd name="connsiteY22" fmla="*/ 864 h 51663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12191999" h="5166360">
                <a:moveTo>
                  <a:pt x="0" y="0"/>
                </a:moveTo>
                <a:lnTo>
                  <a:pt x="1822388" y="0"/>
                </a:lnTo>
                <a:lnTo>
                  <a:pt x="6468290" y="0"/>
                </a:lnTo>
                <a:lnTo>
                  <a:pt x="7796394" y="0"/>
                </a:lnTo>
                <a:lnTo>
                  <a:pt x="8376834" y="0"/>
                </a:lnTo>
                <a:lnTo>
                  <a:pt x="9704938" y="0"/>
                </a:lnTo>
                <a:lnTo>
                  <a:pt x="9704938" y="2"/>
                </a:lnTo>
                <a:lnTo>
                  <a:pt x="10283456" y="2"/>
                </a:lnTo>
                <a:lnTo>
                  <a:pt x="10863897" y="2"/>
                </a:lnTo>
                <a:lnTo>
                  <a:pt x="12191999" y="2"/>
                </a:lnTo>
                <a:lnTo>
                  <a:pt x="12191999" y="5166360"/>
                </a:lnTo>
                <a:lnTo>
                  <a:pt x="0" y="5166360"/>
                </a:lnTo>
                <a:lnTo>
                  <a:pt x="0" y="2604436"/>
                </a:lnTo>
                <a:lnTo>
                  <a:pt x="862341" y="743371"/>
                </a:lnTo>
                <a:lnTo>
                  <a:pt x="0" y="743371"/>
                </a:lnTo>
                <a:lnTo>
                  <a:pt x="0" y="742508"/>
                </a:lnTo>
                <a:lnTo>
                  <a:pt x="92826" y="742508"/>
                </a:lnTo>
                <a:lnTo>
                  <a:pt x="406486" y="742508"/>
                </a:lnTo>
                <a:lnTo>
                  <a:pt x="406486" y="742507"/>
                </a:lnTo>
                <a:lnTo>
                  <a:pt x="862741" y="742507"/>
                </a:lnTo>
                <a:lnTo>
                  <a:pt x="1206388" y="864"/>
                </a:lnTo>
                <a:lnTo>
                  <a:pt x="748500" y="864"/>
                </a:lnTo>
                <a:lnTo>
                  <a:pt x="0" y="864"/>
                </a:lnTo>
                <a:close/>
              </a:path>
            </a:pathLst>
          </a:custGeom>
          <a:solidFill>
            <a:srgbClr val="A6A6A6">
              <a:alpha val="4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479F5F2B-8B58-4140-AE6A-51F6C67B18D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1691641"/>
            <a:ext cx="971654" cy="2096979"/>
          </a:xfrm>
          <a:custGeom>
            <a:avLst/>
            <a:gdLst>
              <a:gd name="connsiteX0" fmla="*/ 0 w 971654"/>
              <a:gd name="connsiteY0" fmla="*/ 0 h 2096979"/>
              <a:gd name="connsiteX1" fmla="*/ 971654 w 971654"/>
              <a:gd name="connsiteY1" fmla="*/ 0 h 2096979"/>
              <a:gd name="connsiteX2" fmla="*/ 0 w 971654"/>
              <a:gd name="connsiteY2" fmla="*/ 2096979 h 20969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971654" h="2096979">
                <a:moveTo>
                  <a:pt x="0" y="0"/>
                </a:moveTo>
                <a:lnTo>
                  <a:pt x="971654" y="0"/>
                </a:lnTo>
                <a:lnTo>
                  <a:pt x="0" y="2096979"/>
                </a:lnTo>
                <a:close/>
              </a:path>
            </a:pathLst>
          </a:custGeom>
          <a:solidFill>
            <a:srgbClr val="40404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9FA71A85-160A-4CFF-9241-BA71D421B86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48070" y="1920240"/>
            <a:ext cx="11408095" cy="4868186"/>
          </a:xfrm>
        </p:spPr>
        <p:txBody>
          <a:bodyPr anchor="t">
            <a:normAutofit/>
          </a:bodyPr>
          <a:lstStyle/>
          <a:p>
            <a:pPr marL="0" indent="0">
              <a:buNone/>
            </a:pPr>
            <a:r>
              <a:rPr lang="fr-FR" sz="13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 </a:t>
            </a:r>
          </a:p>
          <a:p>
            <a:pPr algn="just"/>
            <a:r>
              <a:rPr lang="fr-FR" sz="20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Cela revient donc à identifier au moins deux comptes qui sont sollicités en même temps.</a:t>
            </a:r>
          </a:p>
          <a:p>
            <a:pPr algn="just"/>
            <a:endParaRPr lang="fr-FR" sz="2000" dirty="0">
              <a:latin typeface="Verdana" panose="020B060403050404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just"/>
            <a:r>
              <a:rPr lang="fr-FR" sz="20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Nous avons fait les recherches dans le PCG à cet effet.</a:t>
            </a:r>
          </a:p>
          <a:p>
            <a:pPr algn="just"/>
            <a:endParaRPr lang="fr-FR" sz="2000" dirty="0">
              <a:latin typeface="Verdana" panose="020B060403050404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just"/>
            <a:r>
              <a:rPr lang="fr-FR" sz="20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Bon à savoir 1 : la contrepartie d’un compte de classe 6 ou 7 / Est systématiquement un compte de bilan, généralement compte de classe 4 =&gt; </a:t>
            </a:r>
            <a:r>
              <a:rPr lang="fr-FR" sz="2000" dirty="0">
                <a:effectLst/>
                <a:highlight>
                  <a:srgbClr val="FFFF00"/>
                </a:highlight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Flux économique</a:t>
            </a:r>
          </a:p>
          <a:p>
            <a:pPr algn="just"/>
            <a:endParaRPr lang="fr-FR" sz="2000" dirty="0">
              <a:latin typeface="Verdana" panose="020B060403050404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just"/>
            <a:r>
              <a:rPr lang="fr-FR" sz="20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Bon à savoir 2 : </a:t>
            </a:r>
            <a:r>
              <a:rPr lang="fr-FR" sz="2000" dirty="0">
                <a:effectLst/>
                <a:highlight>
                  <a:srgbClr val="FFFF00"/>
                </a:highlight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le flux de trésorerie </a:t>
            </a:r>
            <a:r>
              <a:rPr lang="fr-FR" sz="20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fait généralement intervenir deux comptes de bilan (comptes classe 4 et classe 5)</a:t>
            </a:r>
          </a:p>
          <a:p>
            <a:pPr algn="just"/>
            <a:endParaRPr lang="fr-FR" sz="2000" dirty="0">
              <a:effectLst/>
              <a:latin typeface="Verdana" panose="020B060403050404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just"/>
            <a:endParaRPr lang="fr-FR" sz="3200" dirty="0">
              <a:solidFill>
                <a:srgbClr val="FF0000"/>
              </a:solidFill>
              <a:effectLst/>
              <a:latin typeface="Verdana" panose="020B060403050404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endParaRPr lang="fr-FR" sz="1300" dirty="0"/>
          </a:p>
        </p:txBody>
      </p:sp>
    </p:spTree>
    <p:extLst>
      <p:ext uri="{BB962C8B-B14F-4D97-AF65-F5344CB8AC3E}">
        <p14:creationId xmlns:p14="http://schemas.microsoft.com/office/powerpoint/2010/main" val="239097545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AEFCB68E-E041-4E46-A233-3C2208DA32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53363" y="365760"/>
            <a:ext cx="9367203" cy="1188720"/>
          </a:xfrm>
        </p:spPr>
        <p:txBody>
          <a:bodyPr>
            <a:normAutofit/>
          </a:bodyPr>
          <a:lstStyle/>
          <a:p>
            <a:r>
              <a:rPr lang="fr-FR" dirty="0"/>
              <a:t>Comptabilisation - Vocabulaire</a:t>
            </a:r>
          </a:p>
        </p:txBody>
      </p:sp>
      <p:sp>
        <p:nvSpPr>
          <p:cNvPr id="8" name="Freeform: Shape 7">
            <a:extLst>
              <a:ext uri="{FF2B5EF4-FFF2-40B4-BE49-F238E27FC236}">
                <a16:creationId xmlns:a16="http://schemas.microsoft.com/office/drawing/2014/main" id="{7CB4857B-ED7C-444D-9F04-2F885114A1C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" y="0"/>
            <a:ext cx="1764099" cy="1558212"/>
          </a:xfrm>
          <a:custGeom>
            <a:avLst/>
            <a:gdLst>
              <a:gd name="connsiteX0" fmla="*/ 0 w 1764099"/>
              <a:gd name="connsiteY0" fmla="*/ 0 h 1558212"/>
              <a:gd name="connsiteX1" fmla="*/ 1764099 w 1764099"/>
              <a:gd name="connsiteY1" fmla="*/ 0 h 1558212"/>
              <a:gd name="connsiteX2" fmla="*/ 1042087 w 1764099"/>
              <a:gd name="connsiteY2" fmla="*/ 1558212 h 1558212"/>
              <a:gd name="connsiteX3" fmla="*/ 0 w 1764099"/>
              <a:gd name="connsiteY3" fmla="*/ 1558212 h 15582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764099" h="1558212">
                <a:moveTo>
                  <a:pt x="0" y="0"/>
                </a:moveTo>
                <a:lnTo>
                  <a:pt x="1764099" y="0"/>
                </a:lnTo>
                <a:lnTo>
                  <a:pt x="1042087" y="1558212"/>
                </a:lnTo>
                <a:lnTo>
                  <a:pt x="0" y="1558212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D18046FB-44EA-4FD8-A585-EA09A319B2D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" y="1691640"/>
            <a:ext cx="12191999" cy="5166360"/>
          </a:xfrm>
          <a:custGeom>
            <a:avLst/>
            <a:gdLst>
              <a:gd name="connsiteX0" fmla="*/ 0 w 12191999"/>
              <a:gd name="connsiteY0" fmla="*/ 0 h 5166360"/>
              <a:gd name="connsiteX1" fmla="*/ 1822388 w 12191999"/>
              <a:gd name="connsiteY1" fmla="*/ 0 h 5166360"/>
              <a:gd name="connsiteX2" fmla="*/ 6468290 w 12191999"/>
              <a:gd name="connsiteY2" fmla="*/ 0 h 5166360"/>
              <a:gd name="connsiteX3" fmla="*/ 7796394 w 12191999"/>
              <a:gd name="connsiteY3" fmla="*/ 0 h 5166360"/>
              <a:gd name="connsiteX4" fmla="*/ 8376834 w 12191999"/>
              <a:gd name="connsiteY4" fmla="*/ 0 h 5166360"/>
              <a:gd name="connsiteX5" fmla="*/ 9704938 w 12191999"/>
              <a:gd name="connsiteY5" fmla="*/ 0 h 5166360"/>
              <a:gd name="connsiteX6" fmla="*/ 9704938 w 12191999"/>
              <a:gd name="connsiteY6" fmla="*/ 2 h 5166360"/>
              <a:gd name="connsiteX7" fmla="*/ 10283456 w 12191999"/>
              <a:gd name="connsiteY7" fmla="*/ 2 h 5166360"/>
              <a:gd name="connsiteX8" fmla="*/ 10863897 w 12191999"/>
              <a:gd name="connsiteY8" fmla="*/ 2 h 5166360"/>
              <a:gd name="connsiteX9" fmla="*/ 12191999 w 12191999"/>
              <a:gd name="connsiteY9" fmla="*/ 2 h 5166360"/>
              <a:gd name="connsiteX10" fmla="*/ 12191999 w 12191999"/>
              <a:gd name="connsiteY10" fmla="*/ 5166360 h 5166360"/>
              <a:gd name="connsiteX11" fmla="*/ 0 w 12191999"/>
              <a:gd name="connsiteY11" fmla="*/ 5166360 h 5166360"/>
              <a:gd name="connsiteX12" fmla="*/ 0 w 12191999"/>
              <a:gd name="connsiteY12" fmla="*/ 2604436 h 5166360"/>
              <a:gd name="connsiteX13" fmla="*/ 862341 w 12191999"/>
              <a:gd name="connsiteY13" fmla="*/ 743371 h 5166360"/>
              <a:gd name="connsiteX14" fmla="*/ 0 w 12191999"/>
              <a:gd name="connsiteY14" fmla="*/ 743371 h 5166360"/>
              <a:gd name="connsiteX15" fmla="*/ 0 w 12191999"/>
              <a:gd name="connsiteY15" fmla="*/ 742508 h 5166360"/>
              <a:gd name="connsiteX16" fmla="*/ 92826 w 12191999"/>
              <a:gd name="connsiteY16" fmla="*/ 742508 h 5166360"/>
              <a:gd name="connsiteX17" fmla="*/ 406486 w 12191999"/>
              <a:gd name="connsiteY17" fmla="*/ 742508 h 5166360"/>
              <a:gd name="connsiteX18" fmla="*/ 406486 w 12191999"/>
              <a:gd name="connsiteY18" fmla="*/ 742507 h 5166360"/>
              <a:gd name="connsiteX19" fmla="*/ 862741 w 12191999"/>
              <a:gd name="connsiteY19" fmla="*/ 742507 h 5166360"/>
              <a:gd name="connsiteX20" fmla="*/ 1206388 w 12191999"/>
              <a:gd name="connsiteY20" fmla="*/ 864 h 5166360"/>
              <a:gd name="connsiteX21" fmla="*/ 748500 w 12191999"/>
              <a:gd name="connsiteY21" fmla="*/ 864 h 5166360"/>
              <a:gd name="connsiteX22" fmla="*/ 0 w 12191999"/>
              <a:gd name="connsiteY22" fmla="*/ 864 h 51663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12191999" h="5166360">
                <a:moveTo>
                  <a:pt x="0" y="0"/>
                </a:moveTo>
                <a:lnTo>
                  <a:pt x="1822388" y="0"/>
                </a:lnTo>
                <a:lnTo>
                  <a:pt x="6468290" y="0"/>
                </a:lnTo>
                <a:lnTo>
                  <a:pt x="7796394" y="0"/>
                </a:lnTo>
                <a:lnTo>
                  <a:pt x="8376834" y="0"/>
                </a:lnTo>
                <a:lnTo>
                  <a:pt x="9704938" y="0"/>
                </a:lnTo>
                <a:lnTo>
                  <a:pt x="9704938" y="2"/>
                </a:lnTo>
                <a:lnTo>
                  <a:pt x="10283456" y="2"/>
                </a:lnTo>
                <a:lnTo>
                  <a:pt x="10863897" y="2"/>
                </a:lnTo>
                <a:lnTo>
                  <a:pt x="12191999" y="2"/>
                </a:lnTo>
                <a:lnTo>
                  <a:pt x="12191999" y="5166360"/>
                </a:lnTo>
                <a:lnTo>
                  <a:pt x="0" y="5166360"/>
                </a:lnTo>
                <a:lnTo>
                  <a:pt x="0" y="2604436"/>
                </a:lnTo>
                <a:lnTo>
                  <a:pt x="862341" y="743371"/>
                </a:lnTo>
                <a:lnTo>
                  <a:pt x="0" y="743371"/>
                </a:lnTo>
                <a:lnTo>
                  <a:pt x="0" y="742508"/>
                </a:lnTo>
                <a:lnTo>
                  <a:pt x="92826" y="742508"/>
                </a:lnTo>
                <a:lnTo>
                  <a:pt x="406486" y="742508"/>
                </a:lnTo>
                <a:lnTo>
                  <a:pt x="406486" y="742507"/>
                </a:lnTo>
                <a:lnTo>
                  <a:pt x="862741" y="742507"/>
                </a:lnTo>
                <a:lnTo>
                  <a:pt x="1206388" y="864"/>
                </a:lnTo>
                <a:lnTo>
                  <a:pt x="748500" y="864"/>
                </a:lnTo>
                <a:lnTo>
                  <a:pt x="0" y="864"/>
                </a:lnTo>
                <a:close/>
              </a:path>
            </a:pathLst>
          </a:custGeom>
          <a:solidFill>
            <a:srgbClr val="A6A6A6">
              <a:alpha val="4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479F5F2B-8B58-4140-AE6A-51F6C67B18D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1691641"/>
            <a:ext cx="971654" cy="2096979"/>
          </a:xfrm>
          <a:custGeom>
            <a:avLst/>
            <a:gdLst>
              <a:gd name="connsiteX0" fmla="*/ 0 w 971654"/>
              <a:gd name="connsiteY0" fmla="*/ 0 h 2096979"/>
              <a:gd name="connsiteX1" fmla="*/ 971654 w 971654"/>
              <a:gd name="connsiteY1" fmla="*/ 0 h 2096979"/>
              <a:gd name="connsiteX2" fmla="*/ 0 w 971654"/>
              <a:gd name="connsiteY2" fmla="*/ 2096979 h 20969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971654" h="2096979">
                <a:moveTo>
                  <a:pt x="0" y="0"/>
                </a:moveTo>
                <a:lnTo>
                  <a:pt x="971654" y="0"/>
                </a:lnTo>
                <a:lnTo>
                  <a:pt x="0" y="2096979"/>
                </a:lnTo>
                <a:close/>
              </a:path>
            </a:pathLst>
          </a:custGeom>
          <a:solidFill>
            <a:srgbClr val="40404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9FA71A85-160A-4CFF-9241-BA71D421B86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48070" y="1920240"/>
            <a:ext cx="11408095" cy="4868186"/>
          </a:xfrm>
        </p:spPr>
        <p:txBody>
          <a:bodyPr anchor="t">
            <a:normAutofit lnSpcReduction="10000"/>
          </a:bodyPr>
          <a:lstStyle/>
          <a:p>
            <a:pPr marL="0" indent="0">
              <a:buNone/>
            </a:pPr>
            <a:r>
              <a:rPr lang="fr-FR" sz="13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 </a:t>
            </a:r>
          </a:p>
          <a:p>
            <a:pPr marL="361950" algn="just"/>
            <a:r>
              <a:rPr lang="fr-FR" sz="18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- </a:t>
            </a:r>
            <a:r>
              <a:rPr lang="fr-FR" sz="1800" b="1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Acheter à crédit</a:t>
            </a:r>
            <a:r>
              <a:rPr lang="fr-FR" sz="18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</a:p>
          <a:p>
            <a:pPr marL="0" indent="0" algn="just">
              <a:buNone/>
            </a:pPr>
            <a:r>
              <a:rPr lang="fr-FR" sz="18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On ne règle pas immédiatement ce que l'on achète, donc on a une dette envers un fournisseur.</a:t>
            </a:r>
          </a:p>
          <a:p>
            <a:pPr marL="0" indent="0" algn="just">
              <a:buNone/>
            </a:pPr>
            <a:r>
              <a:rPr lang="fr-FR" sz="18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 </a:t>
            </a:r>
          </a:p>
          <a:p>
            <a:pPr algn="just"/>
            <a:r>
              <a:rPr lang="fr-FR" sz="18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- </a:t>
            </a:r>
            <a:r>
              <a:rPr lang="fr-FR" sz="1800" b="1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Vendre à crédit</a:t>
            </a:r>
            <a:r>
              <a:rPr lang="fr-FR" sz="18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</a:p>
          <a:p>
            <a:pPr marL="0" indent="0" algn="just">
              <a:buNone/>
            </a:pPr>
            <a:r>
              <a:rPr lang="fr-FR" sz="18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On n'est pas réglé immédiatement de ce que l'on a vendu, donc on a une créance sur un client.</a:t>
            </a:r>
          </a:p>
          <a:p>
            <a:pPr marL="0" indent="0" algn="just">
              <a:buNone/>
            </a:pPr>
            <a:r>
              <a:rPr lang="fr-FR" sz="18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 </a:t>
            </a:r>
          </a:p>
          <a:p>
            <a:pPr marL="0" indent="0" algn="just">
              <a:buNone/>
            </a:pPr>
            <a:r>
              <a:rPr lang="fr-FR" sz="18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- </a:t>
            </a:r>
            <a:r>
              <a:rPr lang="fr-FR" sz="1800" b="1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Régler comptant</a:t>
            </a:r>
            <a:endParaRPr lang="fr-FR" sz="1800" dirty="0">
              <a:effectLst/>
              <a:latin typeface="Verdana" panose="020B060403050404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indent="0" algn="just">
              <a:buNone/>
            </a:pPr>
            <a:r>
              <a:rPr lang="fr-FR" sz="18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On règle immédiatement en espèces (liquide =&gt; pièces ou billets) ou par chèque ce que l'on acheté.</a:t>
            </a:r>
          </a:p>
          <a:p>
            <a:pPr marL="0" indent="0" algn="just">
              <a:buNone/>
            </a:pPr>
            <a:r>
              <a:rPr lang="fr-FR" sz="18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 </a:t>
            </a:r>
          </a:p>
          <a:p>
            <a:pPr marL="0" indent="0" algn="just">
              <a:buNone/>
            </a:pPr>
            <a:r>
              <a:rPr lang="fr-FR" sz="18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- </a:t>
            </a:r>
            <a:r>
              <a:rPr lang="fr-FR" sz="1800" b="1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Vendre au comptant</a:t>
            </a:r>
            <a:endParaRPr lang="fr-FR" sz="1800" dirty="0">
              <a:effectLst/>
              <a:latin typeface="Verdana" panose="020B060403050404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indent="0" algn="just">
              <a:buNone/>
            </a:pPr>
            <a:r>
              <a:rPr lang="fr-FR" sz="18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On est réglé immédiatement en espèces (liquide =&gt; pièces ou billets) ou par chèque de ce que l'on a vendu.</a:t>
            </a:r>
          </a:p>
          <a:p>
            <a:endParaRPr lang="fr-FR" sz="1300" dirty="0"/>
          </a:p>
        </p:txBody>
      </p:sp>
    </p:spTree>
    <p:extLst>
      <p:ext uri="{BB962C8B-B14F-4D97-AF65-F5344CB8AC3E}">
        <p14:creationId xmlns:p14="http://schemas.microsoft.com/office/powerpoint/2010/main" val="356750530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7" name="Rectangle 16">
            <a:extLst>
              <a:ext uri="{FF2B5EF4-FFF2-40B4-BE49-F238E27FC236}">
                <a16:creationId xmlns:a16="http://schemas.microsoft.com/office/drawing/2014/main" id="{100EDD19-6802-4EC3-95CE-CFFAB042CFD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AEFCB68E-E041-4E46-A233-3C2208DA32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</p:spPr>
        <p:txBody>
          <a:bodyPr>
            <a:normAutofit fontScale="90000"/>
          </a:bodyPr>
          <a:lstStyle/>
          <a:p>
            <a:r>
              <a:rPr lang="fr-FR" sz="5400" dirty="0"/>
              <a:t>Comptabilisation – Exemple - CAS UP1</a:t>
            </a:r>
          </a:p>
        </p:txBody>
      </p:sp>
      <p:sp>
        <p:nvSpPr>
          <p:cNvPr id="19" name="sketch line">
            <a:extLst>
              <a:ext uri="{FF2B5EF4-FFF2-40B4-BE49-F238E27FC236}">
                <a16:creationId xmlns:a16="http://schemas.microsoft.com/office/drawing/2014/main" id="{DB17E863-922E-4C26-BD64-E8FD41D2866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669036" y="1677373"/>
            <a:ext cx="10853928" cy="18288"/>
          </a:xfrm>
          <a:custGeom>
            <a:avLst/>
            <a:gdLst>
              <a:gd name="connsiteX0" fmla="*/ 0 w 10853928"/>
              <a:gd name="connsiteY0" fmla="*/ 0 h 18288"/>
              <a:gd name="connsiteX1" fmla="*/ 461292 w 10853928"/>
              <a:gd name="connsiteY1" fmla="*/ 0 h 18288"/>
              <a:gd name="connsiteX2" fmla="*/ 1139662 w 10853928"/>
              <a:gd name="connsiteY2" fmla="*/ 0 h 18288"/>
              <a:gd name="connsiteX3" fmla="*/ 1926572 w 10853928"/>
              <a:gd name="connsiteY3" fmla="*/ 0 h 18288"/>
              <a:gd name="connsiteX4" fmla="*/ 2279325 w 10853928"/>
              <a:gd name="connsiteY4" fmla="*/ 0 h 18288"/>
              <a:gd name="connsiteX5" fmla="*/ 2632078 w 10853928"/>
              <a:gd name="connsiteY5" fmla="*/ 0 h 18288"/>
              <a:gd name="connsiteX6" fmla="*/ 3527527 w 10853928"/>
              <a:gd name="connsiteY6" fmla="*/ 0 h 18288"/>
              <a:gd name="connsiteX7" fmla="*/ 4205897 w 10853928"/>
              <a:gd name="connsiteY7" fmla="*/ 0 h 18288"/>
              <a:gd name="connsiteX8" fmla="*/ 4558650 w 10853928"/>
              <a:gd name="connsiteY8" fmla="*/ 0 h 18288"/>
              <a:gd name="connsiteX9" fmla="*/ 5237020 w 10853928"/>
              <a:gd name="connsiteY9" fmla="*/ 0 h 18288"/>
              <a:gd name="connsiteX10" fmla="*/ 6132469 w 10853928"/>
              <a:gd name="connsiteY10" fmla="*/ 0 h 18288"/>
              <a:gd name="connsiteX11" fmla="*/ 6702301 w 10853928"/>
              <a:gd name="connsiteY11" fmla="*/ 0 h 18288"/>
              <a:gd name="connsiteX12" fmla="*/ 7272132 w 10853928"/>
              <a:gd name="connsiteY12" fmla="*/ 0 h 18288"/>
              <a:gd name="connsiteX13" fmla="*/ 7950502 w 10853928"/>
              <a:gd name="connsiteY13" fmla="*/ 0 h 18288"/>
              <a:gd name="connsiteX14" fmla="*/ 8737412 w 10853928"/>
              <a:gd name="connsiteY14" fmla="*/ 0 h 18288"/>
              <a:gd name="connsiteX15" fmla="*/ 9524322 w 10853928"/>
              <a:gd name="connsiteY15" fmla="*/ 0 h 18288"/>
              <a:gd name="connsiteX16" fmla="*/ 10853928 w 10853928"/>
              <a:gd name="connsiteY16" fmla="*/ 0 h 18288"/>
              <a:gd name="connsiteX17" fmla="*/ 10853928 w 10853928"/>
              <a:gd name="connsiteY17" fmla="*/ 18288 h 18288"/>
              <a:gd name="connsiteX18" fmla="*/ 10392636 w 10853928"/>
              <a:gd name="connsiteY18" fmla="*/ 18288 h 18288"/>
              <a:gd name="connsiteX19" fmla="*/ 9497187 w 10853928"/>
              <a:gd name="connsiteY19" fmla="*/ 18288 h 18288"/>
              <a:gd name="connsiteX20" fmla="*/ 8818817 w 10853928"/>
              <a:gd name="connsiteY20" fmla="*/ 18288 h 18288"/>
              <a:gd name="connsiteX21" fmla="*/ 8466064 w 10853928"/>
              <a:gd name="connsiteY21" fmla="*/ 18288 h 18288"/>
              <a:gd name="connsiteX22" fmla="*/ 7787693 w 10853928"/>
              <a:gd name="connsiteY22" fmla="*/ 18288 h 18288"/>
              <a:gd name="connsiteX23" fmla="*/ 7217862 w 10853928"/>
              <a:gd name="connsiteY23" fmla="*/ 18288 h 18288"/>
              <a:gd name="connsiteX24" fmla="*/ 6648031 w 10853928"/>
              <a:gd name="connsiteY24" fmla="*/ 18288 h 18288"/>
              <a:gd name="connsiteX25" fmla="*/ 6078200 w 10853928"/>
              <a:gd name="connsiteY25" fmla="*/ 18288 h 18288"/>
              <a:gd name="connsiteX26" fmla="*/ 5508368 w 10853928"/>
              <a:gd name="connsiteY26" fmla="*/ 18288 h 18288"/>
              <a:gd name="connsiteX27" fmla="*/ 4721459 w 10853928"/>
              <a:gd name="connsiteY27" fmla="*/ 18288 h 18288"/>
              <a:gd name="connsiteX28" fmla="*/ 4043088 w 10853928"/>
              <a:gd name="connsiteY28" fmla="*/ 18288 h 18288"/>
              <a:gd name="connsiteX29" fmla="*/ 3690336 w 10853928"/>
              <a:gd name="connsiteY29" fmla="*/ 18288 h 18288"/>
              <a:gd name="connsiteX30" fmla="*/ 3120504 w 10853928"/>
              <a:gd name="connsiteY30" fmla="*/ 18288 h 18288"/>
              <a:gd name="connsiteX31" fmla="*/ 2333595 w 10853928"/>
              <a:gd name="connsiteY31" fmla="*/ 18288 h 18288"/>
              <a:gd name="connsiteX32" fmla="*/ 1872303 w 10853928"/>
              <a:gd name="connsiteY32" fmla="*/ 18288 h 18288"/>
              <a:gd name="connsiteX33" fmla="*/ 976854 w 10853928"/>
              <a:gd name="connsiteY33" fmla="*/ 18288 h 18288"/>
              <a:gd name="connsiteX34" fmla="*/ 0 w 10853928"/>
              <a:gd name="connsiteY34" fmla="*/ 18288 h 18288"/>
              <a:gd name="connsiteX35" fmla="*/ 0 w 10853928"/>
              <a:gd name="connsiteY35" fmla="*/ 0 h 182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</a:cxnLst>
            <a:rect l="l" t="t" r="r" b="b"/>
            <a:pathLst>
              <a:path w="10853928" h="18288" fill="none" extrusionOk="0">
                <a:moveTo>
                  <a:pt x="0" y="0"/>
                </a:moveTo>
                <a:cubicBezTo>
                  <a:pt x="146993" y="-19076"/>
                  <a:pt x="347684" y="-4790"/>
                  <a:pt x="461292" y="0"/>
                </a:cubicBezTo>
                <a:cubicBezTo>
                  <a:pt x="574900" y="4790"/>
                  <a:pt x="808367" y="19821"/>
                  <a:pt x="1139662" y="0"/>
                </a:cubicBezTo>
                <a:cubicBezTo>
                  <a:pt x="1470957" y="-19821"/>
                  <a:pt x="1627405" y="5721"/>
                  <a:pt x="1926572" y="0"/>
                </a:cubicBezTo>
                <a:cubicBezTo>
                  <a:pt x="2225739" y="-5721"/>
                  <a:pt x="2137730" y="-3235"/>
                  <a:pt x="2279325" y="0"/>
                </a:cubicBezTo>
                <a:cubicBezTo>
                  <a:pt x="2420920" y="3235"/>
                  <a:pt x="2456518" y="9685"/>
                  <a:pt x="2632078" y="0"/>
                </a:cubicBezTo>
                <a:cubicBezTo>
                  <a:pt x="2807638" y="-9685"/>
                  <a:pt x="3211516" y="-43007"/>
                  <a:pt x="3527527" y="0"/>
                </a:cubicBezTo>
                <a:cubicBezTo>
                  <a:pt x="3843538" y="43007"/>
                  <a:pt x="4058833" y="22042"/>
                  <a:pt x="4205897" y="0"/>
                </a:cubicBezTo>
                <a:cubicBezTo>
                  <a:pt x="4352961" y="-22042"/>
                  <a:pt x="4474805" y="-11846"/>
                  <a:pt x="4558650" y="0"/>
                </a:cubicBezTo>
                <a:cubicBezTo>
                  <a:pt x="4642495" y="11846"/>
                  <a:pt x="5041928" y="-6069"/>
                  <a:pt x="5237020" y="0"/>
                </a:cubicBezTo>
                <a:cubicBezTo>
                  <a:pt x="5432112" y="6069"/>
                  <a:pt x="5943266" y="-17479"/>
                  <a:pt x="6132469" y="0"/>
                </a:cubicBezTo>
                <a:cubicBezTo>
                  <a:pt x="6321672" y="17479"/>
                  <a:pt x="6483872" y="26234"/>
                  <a:pt x="6702301" y="0"/>
                </a:cubicBezTo>
                <a:cubicBezTo>
                  <a:pt x="6920730" y="-26234"/>
                  <a:pt x="6991194" y="-15156"/>
                  <a:pt x="7272132" y="0"/>
                </a:cubicBezTo>
                <a:cubicBezTo>
                  <a:pt x="7553070" y="15156"/>
                  <a:pt x="7684444" y="-32961"/>
                  <a:pt x="7950502" y="0"/>
                </a:cubicBezTo>
                <a:cubicBezTo>
                  <a:pt x="8216560" y="32961"/>
                  <a:pt x="8493290" y="-10491"/>
                  <a:pt x="8737412" y="0"/>
                </a:cubicBezTo>
                <a:cubicBezTo>
                  <a:pt x="8981534" y="10491"/>
                  <a:pt x="9191586" y="-13899"/>
                  <a:pt x="9524322" y="0"/>
                </a:cubicBezTo>
                <a:cubicBezTo>
                  <a:pt x="9857058" y="13899"/>
                  <a:pt x="10297509" y="7485"/>
                  <a:pt x="10853928" y="0"/>
                </a:cubicBezTo>
                <a:cubicBezTo>
                  <a:pt x="10854574" y="4451"/>
                  <a:pt x="10854418" y="9226"/>
                  <a:pt x="10853928" y="18288"/>
                </a:cubicBezTo>
                <a:cubicBezTo>
                  <a:pt x="10691638" y="28522"/>
                  <a:pt x="10574319" y="29578"/>
                  <a:pt x="10392636" y="18288"/>
                </a:cubicBezTo>
                <a:cubicBezTo>
                  <a:pt x="10210953" y="6998"/>
                  <a:pt x="9836277" y="-16742"/>
                  <a:pt x="9497187" y="18288"/>
                </a:cubicBezTo>
                <a:cubicBezTo>
                  <a:pt x="9158097" y="53318"/>
                  <a:pt x="9119479" y="30714"/>
                  <a:pt x="8818817" y="18288"/>
                </a:cubicBezTo>
                <a:cubicBezTo>
                  <a:pt x="8518155" y="5863"/>
                  <a:pt x="8640037" y="6483"/>
                  <a:pt x="8466064" y="18288"/>
                </a:cubicBezTo>
                <a:cubicBezTo>
                  <a:pt x="8292091" y="30093"/>
                  <a:pt x="7997656" y="18914"/>
                  <a:pt x="7787693" y="18288"/>
                </a:cubicBezTo>
                <a:cubicBezTo>
                  <a:pt x="7577730" y="17662"/>
                  <a:pt x="7412468" y="21416"/>
                  <a:pt x="7217862" y="18288"/>
                </a:cubicBezTo>
                <a:cubicBezTo>
                  <a:pt x="7023256" y="15160"/>
                  <a:pt x="6898018" y="14824"/>
                  <a:pt x="6648031" y="18288"/>
                </a:cubicBezTo>
                <a:cubicBezTo>
                  <a:pt x="6398044" y="21752"/>
                  <a:pt x="6254402" y="38625"/>
                  <a:pt x="6078200" y="18288"/>
                </a:cubicBezTo>
                <a:cubicBezTo>
                  <a:pt x="5901998" y="-2049"/>
                  <a:pt x="5622886" y="3213"/>
                  <a:pt x="5508368" y="18288"/>
                </a:cubicBezTo>
                <a:cubicBezTo>
                  <a:pt x="5393850" y="33363"/>
                  <a:pt x="5036260" y="26830"/>
                  <a:pt x="4721459" y="18288"/>
                </a:cubicBezTo>
                <a:cubicBezTo>
                  <a:pt x="4406658" y="9746"/>
                  <a:pt x="4239221" y="41551"/>
                  <a:pt x="4043088" y="18288"/>
                </a:cubicBezTo>
                <a:cubicBezTo>
                  <a:pt x="3846955" y="-4975"/>
                  <a:pt x="3818802" y="34658"/>
                  <a:pt x="3690336" y="18288"/>
                </a:cubicBezTo>
                <a:cubicBezTo>
                  <a:pt x="3561870" y="1918"/>
                  <a:pt x="3265491" y="42194"/>
                  <a:pt x="3120504" y="18288"/>
                </a:cubicBezTo>
                <a:cubicBezTo>
                  <a:pt x="2975517" y="-5618"/>
                  <a:pt x="2720254" y="36673"/>
                  <a:pt x="2333595" y="18288"/>
                </a:cubicBezTo>
                <a:cubicBezTo>
                  <a:pt x="1946936" y="-97"/>
                  <a:pt x="2097241" y="5776"/>
                  <a:pt x="1872303" y="18288"/>
                </a:cubicBezTo>
                <a:cubicBezTo>
                  <a:pt x="1647365" y="30800"/>
                  <a:pt x="1282708" y="45380"/>
                  <a:pt x="976854" y="18288"/>
                </a:cubicBezTo>
                <a:cubicBezTo>
                  <a:pt x="671000" y="-8804"/>
                  <a:pt x="408401" y="-12775"/>
                  <a:pt x="0" y="18288"/>
                </a:cubicBezTo>
                <a:cubicBezTo>
                  <a:pt x="-213" y="9468"/>
                  <a:pt x="187" y="4459"/>
                  <a:pt x="0" y="0"/>
                </a:cubicBezTo>
                <a:close/>
              </a:path>
              <a:path w="10853928" h="18288" stroke="0" extrusionOk="0">
                <a:moveTo>
                  <a:pt x="0" y="0"/>
                </a:moveTo>
                <a:cubicBezTo>
                  <a:pt x="267322" y="15284"/>
                  <a:pt x="415388" y="-21048"/>
                  <a:pt x="569831" y="0"/>
                </a:cubicBezTo>
                <a:cubicBezTo>
                  <a:pt x="724274" y="21048"/>
                  <a:pt x="769333" y="-2353"/>
                  <a:pt x="922584" y="0"/>
                </a:cubicBezTo>
                <a:cubicBezTo>
                  <a:pt x="1075835" y="2353"/>
                  <a:pt x="1399490" y="-145"/>
                  <a:pt x="1818033" y="0"/>
                </a:cubicBezTo>
                <a:cubicBezTo>
                  <a:pt x="2236576" y="145"/>
                  <a:pt x="2145330" y="5482"/>
                  <a:pt x="2387864" y="0"/>
                </a:cubicBezTo>
                <a:cubicBezTo>
                  <a:pt x="2630398" y="-5482"/>
                  <a:pt x="2793207" y="18487"/>
                  <a:pt x="2957695" y="0"/>
                </a:cubicBezTo>
                <a:cubicBezTo>
                  <a:pt x="3122183" y="-18487"/>
                  <a:pt x="3579141" y="19003"/>
                  <a:pt x="3853144" y="0"/>
                </a:cubicBezTo>
                <a:cubicBezTo>
                  <a:pt x="4127147" y="-19003"/>
                  <a:pt x="4209857" y="12211"/>
                  <a:pt x="4314436" y="0"/>
                </a:cubicBezTo>
                <a:cubicBezTo>
                  <a:pt x="4419015" y="-12211"/>
                  <a:pt x="4762459" y="-17220"/>
                  <a:pt x="5209885" y="0"/>
                </a:cubicBezTo>
                <a:cubicBezTo>
                  <a:pt x="5657311" y="17220"/>
                  <a:pt x="5692663" y="-3290"/>
                  <a:pt x="6105335" y="0"/>
                </a:cubicBezTo>
                <a:cubicBezTo>
                  <a:pt x="6518007" y="3290"/>
                  <a:pt x="6455516" y="-5124"/>
                  <a:pt x="6783705" y="0"/>
                </a:cubicBezTo>
                <a:cubicBezTo>
                  <a:pt x="7111894" y="5124"/>
                  <a:pt x="7441941" y="-17829"/>
                  <a:pt x="7679154" y="0"/>
                </a:cubicBezTo>
                <a:cubicBezTo>
                  <a:pt x="7916367" y="17829"/>
                  <a:pt x="8102967" y="-24363"/>
                  <a:pt x="8248985" y="0"/>
                </a:cubicBezTo>
                <a:cubicBezTo>
                  <a:pt x="8395003" y="24363"/>
                  <a:pt x="8552393" y="25505"/>
                  <a:pt x="8818817" y="0"/>
                </a:cubicBezTo>
                <a:cubicBezTo>
                  <a:pt x="9085241" y="-25505"/>
                  <a:pt x="9411308" y="38000"/>
                  <a:pt x="9605726" y="0"/>
                </a:cubicBezTo>
                <a:cubicBezTo>
                  <a:pt x="9800144" y="-38000"/>
                  <a:pt x="10006468" y="-25741"/>
                  <a:pt x="10175558" y="0"/>
                </a:cubicBezTo>
                <a:cubicBezTo>
                  <a:pt x="10344648" y="25741"/>
                  <a:pt x="10696282" y="695"/>
                  <a:pt x="10853928" y="0"/>
                </a:cubicBezTo>
                <a:cubicBezTo>
                  <a:pt x="10853521" y="8690"/>
                  <a:pt x="10853774" y="14141"/>
                  <a:pt x="10853928" y="18288"/>
                </a:cubicBezTo>
                <a:cubicBezTo>
                  <a:pt x="10608124" y="24255"/>
                  <a:pt x="10343415" y="22307"/>
                  <a:pt x="10067018" y="18288"/>
                </a:cubicBezTo>
                <a:cubicBezTo>
                  <a:pt x="9790621" y="14270"/>
                  <a:pt x="9843266" y="3564"/>
                  <a:pt x="9714266" y="18288"/>
                </a:cubicBezTo>
                <a:cubicBezTo>
                  <a:pt x="9585266" y="33012"/>
                  <a:pt x="9379484" y="1875"/>
                  <a:pt x="9252974" y="18288"/>
                </a:cubicBezTo>
                <a:cubicBezTo>
                  <a:pt x="9126464" y="34701"/>
                  <a:pt x="8580678" y="-4904"/>
                  <a:pt x="8357525" y="18288"/>
                </a:cubicBezTo>
                <a:cubicBezTo>
                  <a:pt x="8134372" y="41480"/>
                  <a:pt x="7903199" y="26458"/>
                  <a:pt x="7679154" y="18288"/>
                </a:cubicBezTo>
                <a:cubicBezTo>
                  <a:pt x="7455109" y="10118"/>
                  <a:pt x="7435944" y="27109"/>
                  <a:pt x="7217862" y="18288"/>
                </a:cubicBezTo>
                <a:cubicBezTo>
                  <a:pt x="6999780" y="9467"/>
                  <a:pt x="6680409" y="18985"/>
                  <a:pt x="6539492" y="18288"/>
                </a:cubicBezTo>
                <a:cubicBezTo>
                  <a:pt x="6398575" y="17592"/>
                  <a:pt x="6312077" y="33018"/>
                  <a:pt x="6186739" y="18288"/>
                </a:cubicBezTo>
                <a:cubicBezTo>
                  <a:pt x="6061401" y="3558"/>
                  <a:pt x="5947033" y="12075"/>
                  <a:pt x="5833986" y="18288"/>
                </a:cubicBezTo>
                <a:cubicBezTo>
                  <a:pt x="5720939" y="24501"/>
                  <a:pt x="5482226" y="8586"/>
                  <a:pt x="5155616" y="18288"/>
                </a:cubicBezTo>
                <a:cubicBezTo>
                  <a:pt x="4829006" y="27991"/>
                  <a:pt x="4841274" y="29316"/>
                  <a:pt x="4694324" y="18288"/>
                </a:cubicBezTo>
                <a:cubicBezTo>
                  <a:pt x="4547374" y="7260"/>
                  <a:pt x="4077675" y="7013"/>
                  <a:pt x="3907414" y="18288"/>
                </a:cubicBezTo>
                <a:cubicBezTo>
                  <a:pt x="3737153" y="29564"/>
                  <a:pt x="3538393" y="21630"/>
                  <a:pt x="3446122" y="18288"/>
                </a:cubicBezTo>
                <a:cubicBezTo>
                  <a:pt x="3353851" y="14946"/>
                  <a:pt x="2990320" y="-8091"/>
                  <a:pt x="2659212" y="18288"/>
                </a:cubicBezTo>
                <a:cubicBezTo>
                  <a:pt x="2328104" y="44667"/>
                  <a:pt x="2427653" y="9607"/>
                  <a:pt x="2306460" y="18288"/>
                </a:cubicBezTo>
                <a:cubicBezTo>
                  <a:pt x="2185267" y="26969"/>
                  <a:pt x="1719763" y="3717"/>
                  <a:pt x="1519550" y="18288"/>
                </a:cubicBezTo>
                <a:cubicBezTo>
                  <a:pt x="1319337" y="32860"/>
                  <a:pt x="1167371" y="17040"/>
                  <a:pt x="1058258" y="18288"/>
                </a:cubicBezTo>
                <a:cubicBezTo>
                  <a:pt x="949145" y="19536"/>
                  <a:pt x="780234" y="31447"/>
                  <a:pt x="705505" y="18288"/>
                </a:cubicBezTo>
                <a:cubicBezTo>
                  <a:pt x="630776" y="5129"/>
                  <a:pt x="215796" y="30056"/>
                  <a:pt x="0" y="18288"/>
                </a:cubicBezTo>
                <a:cubicBezTo>
                  <a:pt x="-53" y="11301"/>
                  <a:pt x="-649" y="7756"/>
                  <a:pt x="0" y="0"/>
                </a:cubicBezTo>
                <a:close/>
              </a:path>
            </a:pathLst>
          </a:custGeom>
          <a:solidFill>
            <a:schemeClr val="accent2"/>
          </a:solidFill>
          <a:ln w="41275" cap="rnd">
            <a:solidFill>
              <a:schemeClr val="accent2"/>
            </a:solidFill>
            <a:round/>
            <a:extLst>
              <a:ext uri="{C807C97D-BFC1-408E-A445-0C87EB9F89A2}">
                <ask:lineSketchStyleProps xmlns:ask="http://schemas.microsoft.com/office/drawing/2018/sketchyshapes" sd="1219033472">
                  <a:prstGeom prst="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9FA71A85-160A-4CFF-9241-BA71D421B86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929384"/>
            <a:ext cx="10515600" cy="4633622"/>
          </a:xfrm>
        </p:spPr>
        <p:txBody>
          <a:bodyPr>
            <a:normAutofit lnSpcReduction="10000"/>
          </a:bodyPr>
          <a:lstStyle/>
          <a:p>
            <a:pPr marL="0" indent="0">
              <a:buNone/>
            </a:pPr>
            <a:r>
              <a:rPr lang="fr-FR" sz="15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 </a:t>
            </a:r>
          </a:p>
          <a:p>
            <a:r>
              <a:rPr lang="fr-FR" sz="1800" b="1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Ex 1)</a:t>
            </a:r>
            <a:r>
              <a:rPr lang="fr-FR" sz="18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L’entreprise achète, en réglant par chèque, pour </a:t>
            </a:r>
            <a:r>
              <a:rPr lang="fr-FR" sz="1800" dirty="0"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10</a:t>
            </a:r>
            <a:r>
              <a:rPr lang="fr-FR" sz="18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0 000 € de marchandises.</a:t>
            </a:r>
          </a:p>
          <a:p>
            <a:pPr marL="361950"/>
            <a:r>
              <a:rPr lang="fr-FR" sz="18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=&gt; Les comptes en jeu.</a:t>
            </a:r>
          </a:p>
          <a:p>
            <a:endParaRPr lang="fr-FR" sz="1800" b="1" dirty="0">
              <a:effectLst/>
              <a:latin typeface="Verdana" panose="020B060403050404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fr-FR" sz="1800" b="1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Ex 2)</a:t>
            </a:r>
            <a:r>
              <a:rPr lang="fr-FR" sz="18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L’entreprise achète, à crédit, pour 200 000 € de matières premières.</a:t>
            </a:r>
          </a:p>
          <a:p>
            <a:pPr marL="361950"/>
            <a:r>
              <a:rPr lang="fr-FR" sz="18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=&gt; Les comptes en jeu.</a:t>
            </a:r>
          </a:p>
          <a:p>
            <a:r>
              <a:rPr lang="fr-FR" sz="18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 </a:t>
            </a:r>
          </a:p>
          <a:p>
            <a:r>
              <a:rPr lang="fr-FR" sz="1800" b="1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Ex 3)</a:t>
            </a:r>
            <a:r>
              <a:rPr lang="fr-FR" sz="18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L’entreprise perçoit 500 € d'intérêts suite à un placement effectué dans une banque.</a:t>
            </a:r>
          </a:p>
          <a:p>
            <a:pPr marL="361950"/>
            <a:r>
              <a:rPr lang="fr-FR" sz="18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=&gt; Les comptes en jeu.</a:t>
            </a:r>
          </a:p>
          <a:p>
            <a:r>
              <a:rPr lang="fr-FR" sz="18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 </a:t>
            </a:r>
          </a:p>
          <a:p>
            <a:r>
              <a:rPr lang="fr-FR" sz="1800" b="1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Ex 4)</a:t>
            </a:r>
            <a:r>
              <a:rPr lang="fr-FR" sz="18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L’entreprise vend des produits finis, à crédit, pour 500 000 €.</a:t>
            </a:r>
          </a:p>
          <a:p>
            <a:pPr marL="361950"/>
            <a:r>
              <a:rPr lang="fr-FR" sz="18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=&gt; Les comptes en jeu.</a:t>
            </a:r>
          </a:p>
          <a:p>
            <a:endParaRPr lang="fr-FR" sz="1500" dirty="0"/>
          </a:p>
        </p:txBody>
      </p:sp>
    </p:spTree>
    <p:extLst>
      <p:ext uri="{BB962C8B-B14F-4D97-AF65-F5344CB8AC3E}">
        <p14:creationId xmlns:p14="http://schemas.microsoft.com/office/powerpoint/2010/main" val="291615658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7" name="Rectangle 16">
            <a:extLst>
              <a:ext uri="{FF2B5EF4-FFF2-40B4-BE49-F238E27FC236}">
                <a16:creationId xmlns:a16="http://schemas.microsoft.com/office/drawing/2014/main" id="{100EDD19-6802-4EC3-95CE-CFFAB042CFD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AEFCB68E-E041-4E46-A233-3C2208DA32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</p:spPr>
        <p:txBody>
          <a:bodyPr>
            <a:normAutofit/>
          </a:bodyPr>
          <a:lstStyle/>
          <a:p>
            <a:r>
              <a:rPr lang="fr-FR" sz="5400" dirty="0"/>
              <a:t>Comptabilisation – Correction UP1</a:t>
            </a:r>
          </a:p>
        </p:txBody>
      </p:sp>
      <p:sp>
        <p:nvSpPr>
          <p:cNvPr id="19" name="sketch line">
            <a:extLst>
              <a:ext uri="{FF2B5EF4-FFF2-40B4-BE49-F238E27FC236}">
                <a16:creationId xmlns:a16="http://schemas.microsoft.com/office/drawing/2014/main" id="{DB17E863-922E-4C26-BD64-E8FD41D2866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669036" y="1677373"/>
            <a:ext cx="10853928" cy="18288"/>
          </a:xfrm>
          <a:custGeom>
            <a:avLst/>
            <a:gdLst>
              <a:gd name="connsiteX0" fmla="*/ 0 w 10853928"/>
              <a:gd name="connsiteY0" fmla="*/ 0 h 18288"/>
              <a:gd name="connsiteX1" fmla="*/ 461292 w 10853928"/>
              <a:gd name="connsiteY1" fmla="*/ 0 h 18288"/>
              <a:gd name="connsiteX2" fmla="*/ 1139662 w 10853928"/>
              <a:gd name="connsiteY2" fmla="*/ 0 h 18288"/>
              <a:gd name="connsiteX3" fmla="*/ 1926572 w 10853928"/>
              <a:gd name="connsiteY3" fmla="*/ 0 h 18288"/>
              <a:gd name="connsiteX4" fmla="*/ 2279325 w 10853928"/>
              <a:gd name="connsiteY4" fmla="*/ 0 h 18288"/>
              <a:gd name="connsiteX5" fmla="*/ 2632078 w 10853928"/>
              <a:gd name="connsiteY5" fmla="*/ 0 h 18288"/>
              <a:gd name="connsiteX6" fmla="*/ 3527527 w 10853928"/>
              <a:gd name="connsiteY6" fmla="*/ 0 h 18288"/>
              <a:gd name="connsiteX7" fmla="*/ 4205897 w 10853928"/>
              <a:gd name="connsiteY7" fmla="*/ 0 h 18288"/>
              <a:gd name="connsiteX8" fmla="*/ 4558650 w 10853928"/>
              <a:gd name="connsiteY8" fmla="*/ 0 h 18288"/>
              <a:gd name="connsiteX9" fmla="*/ 5237020 w 10853928"/>
              <a:gd name="connsiteY9" fmla="*/ 0 h 18288"/>
              <a:gd name="connsiteX10" fmla="*/ 6132469 w 10853928"/>
              <a:gd name="connsiteY10" fmla="*/ 0 h 18288"/>
              <a:gd name="connsiteX11" fmla="*/ 6702301 w 10853928"/>
              <a:gd name="connsiteY11" fmla="*/ 0 h 18288"/>
              <a:gd name="connsiteX12" fmla="*/ 7272132 w 10853928"/>
              <a:gd name="connsiteY12" fmla="*/ 0 h 18288"/>
              <a:gd name="connsiteX13" fmla="*/ 7950502 w 10853928"/>
              <a:gd name="connsiteY13" fmla="*/ 0 h 18288"/>
              <a:gd name="connsiteX14" fmla="*/ 8737412 w 10853928"/>
              <a:gd name="connsiteY14" fmla="*/ 0 h 18288"/>
              <a:gd name="connsiteX15" fmla="*/ 9524322 w 10853928"/>
              <a:gd name="connsiteY15" fmla="*/ 0 h 18288"/>
              <a:gd name="connsiteX16" fmla="*/ 10853928 w 10853928"/>
              <a:gd name="connsiteY16" fmla="*/ 0 h 18288"/>
              <a:gd name="connsiteX17" fmla="*/ 10853928 w 10853928"/>
              <a:gd name="connsiteY17" fmla="*/ 18288 h 18288"/>
              <a:gd name="connsiteX18" fmla="*/ 10392636 w 10853928"/>
              <a:gd name="connsiteY18" fmla="*/ 18288 h 18288"/>
              <a:gd name="connsiteX19" fmla="*/ 9497187 w 10853928"/>
              <a:gd name="connsiteY19" fmla="*/ 18288 h 18288"/>
              <a:gd name="connsiteX20" fmla="*/ 8818817 w 10853928"/>
              <a:gd name="connsiteY20" fmla="*/ 18288 h 18288"/>
              <a:gd name="connsiteX21" fmla="*/ 8466064 w 10853928"/>
              <a:gd name="connsiteY21" fmla="*/ 18288 h 18288"/>
              <a:gd name="connsiteX22" fmla="*/ 7787693 w 10853928"/>
              <a:gd name="connsiteY22" fmla="*/ 18288 h 18288"/>
              <a:gd name="connsiteX23" fmla="*/ 7217862 w 10853928"/>
              <a:gd name="connsiteY23" fmla="*/ 18288 h 18288"/>
              <a:gd name="connsiteX24" fmla="*/ 6648031 w 10853928"/>
              <a:gd name="connsiteY24" fmla="*/ 18288 h 18288"/>
              <a:gd name="connsiteX25" fmla="*/ 6078200 w 10853928"/>
              <a:gd name="connsiteY25" fmla="*/ 18288 h 18288"/>
              <a:gd name="connsiteX26" fmla="*/ 5508368 w 10853928"/>
              <a:gd name="connsiteY26" fmla="*/ 18288 h 18288"/>
              <a:gd name="connsiteX27" fmla="*/ 4721459 w 10853928"/>
              <a:gd name="connsiteY27" fmla="*/ 18288 h 18288"/>
              <a:gd name="connsiteX28" fmla="*/ 4043088 w 10853928"/>
              <a:gd name="connsiteY28" fmla="*/ 18288 h 18288"/>
              <a:gd name="connsiteX29" fmla="*/ 3690336 w 10853928"/>
              <a:gd name="connsiteY29" fmla="*/ 18288 h 18288"/>
              <a:gd name="connsiteX30" fmla="*/ 3120504 w 10853928"/>
              <a:gd name="connsiteY30" fmla="*/ 18288 h 18288"/>
              <a:gd name="connsiteX31" fmla="*/ 2333595 w 10853928"/>
              <a:gd name="connsiteY31" fmla="*/ 18288 h 18288"/>
              <a:gd name="connsiteX32" fmla="*/ 1872303 w 10853928"/>
              <a:gd name="connsiteY32" fmla="*/ 18288 h 18288"/>
              <a:gd name="connsiteX33" fmla="*/ 976854 w 10853928"/>
              <a:gd name="connsiteY33" fmla="*/ 18288 h 18288"/>
              <a:gd name="connsiteX34" fmla="*/ 0 w 10853928"/>
              <a:gd name="connsiteY34" fmla="*/ 18288 h 18288"/>
              <a:gd name="connsiteX35" fmla="*/ 0 w 10853928"/>
              <a:gd name="connsiteY35" fmla="*/ 0 h 182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</a:cxnLst>
            <a:rect l="l" t="t" r="r" b="b"/>
            <a:pathLst>
              <a:path w="10853928" h="18288" fill="none" extrusionOk="0">
                <a:moveTo>
                  <a:pt x="0" y="0"/>
                </a:moveTo>
                <a:cubicBezTo>
                  <a:pt x="146993" y="-19076"/>
                  <a:pt x="347684" y="-4790"/>
                  <a:pt x="461292" y="0"/>
                </a:cubicBezTo>
                <a:cubicBezTo>
                  <a:pt x="574900" y="4790"/>
                  <a:pt x="808367" y="19821"/>
                  <a:pt x="1139662" y="0"/>
                </a:cubicBezTo>
                <a:cubicBezTo>
                  <a:pt x="1470957" y="-19821"/>
                  <a:pt x="1627405" y="5721"/>
                  <a:pt x="1926572" y="0"/>
                </a:cubicBezTo>
                <a:cubicBezTo>
                  <a:pt x="2225739" y="-5721"/>
                  <a:pt x="2137730" y="-3235"/>
                  <a:pt x="2279325" y="0"/>
                </a:cubicBezTo>
                <a:cubicBezTo>
                  <a:pt x="2420920" y="3235"/>
                  <a:pt x="2456518" y="9685"/>
                  <a:pt x="2632078" y="0"/>
                </a:cubicBezTo>
                <a:cubicBezTo>
                  <a:pt x="2807638" y="-9685"/>
                  <a:pt x="3211516" y="-43007"/>
                  <a:pt x="3527527" y="0"/>
                </a:cubicBezTo>
                <a:cubicBezTo>
                  <a:pt x="3843538" y="43007"/>
                  <a:pt x="4058833" y="22042"/>
                  <a:pt x="4205897" y="0"/>
                </a:cubicBezTo>
                <a:cubicBezTo>
                  <a:pt x="4352961" y="-22042"/>
                  <a:pt x="4474805" y="-11846"/>
                  <a:pt x="4558650" y="0"/>
                </a:cubicBezTo>
                <a:cubicBezTo>
                  <a:pt x="4642495" y="11846"/>
                  <a:pt x="5041928" y="-6069"/>
                  <a:pt x="5237020" y="0"/>
                </a:cubicBezTo>
                <a:cubicBezTo>
                  <a:pt x="5432112" y="6069"/>
                  <a:pt x="5943266" y="-17479"/>
                  <a:pt x="6132469" y="0"/>
                </a:cubicBezTo>
                <a:cubicBezTo>
                  <a:pt x="6321672" y="17479"/>
                  <a:pt x="6483872" y="26234"/>
                  <a:pt x="6702301" y="0"/>
                </a:cubicBezTo>
                <a:cubicBezTo>
                  <a:pt x="6920730" y="-26234"/>
                  <a:pt x="6991194" y="-15156"/>
                  <a:pt x="7272132" y="0"/>
                </a:cubicBezTo>
                <a:cubicBezTo>
                  <a:pt x="7553070" y="15156"/>
                  <a:pt x="7684444" y="-32961"/>
                  <a:pt x="7950502" y="0"/>
                </a:cubicBezTo>
                <a:cubicBezTo>
                  <a:pt x="8216560" y="32961"/>
                  <a:pt x="8493290" y="-10491"/>
                  <a:pt x="8737412" y="0"/>
                </a:cubicBezTo>
                <a:cubicBezTo>
                  <a:pt x="8981534" y="10491"/>
                  <a:pt x="9191586" y="-13899"/>
                  <a:pt x="9524322" y="0"/>
                </a:cubicBezTo>
                <a:cubicBezTo>
                  <a:pt x="9857058" y="13899"/>
                  <a:pt x="10297509" y="7485"/>
                  <a:pt x="10853928" y="0"/>
                </a:cubicBezTo>
                <a:cubicBezTo>
                  <a:pt x="10854574" y="4451"/>
                  <a:pt x="10854418" y="9226"/>
                  <a:pt x="10853928" y="18288"/>
                </a:cubicBezTo>
                <a:cubicBezTo>
                  <a:pt x="10691638" y="28522"/>
                  <a:pt x="10574319" y="29578"/>
                  <a:pt x="10392636" y="18288"/>
                </a:cubicBezTo>
                <a:cubicBezTo>
                  <a:pt x="10210953" y="6998"/>
                  <a:pt x="9836277" y="-16742"/>
                  <a:pt x="9497187" y="18288"/>
                </a:cubicBezTo>
                <a:cubicBezTo>
                  <a:pt x="9158097" y="53318"/>
                  <a:pt x="9119479" y="30714"/>
                  <a:pt x="8818817" y="18288"/>
                </a:cubicBezTo>
                <a:cubicBezTo>
                  <a:pt x="8518155" y="5863"/>
                  <a:pt x="8640037" y="6483"/>
                  <a:pt x="8466064" y="18288"/>
                </a:cubicBezTo>
                <a:cubicBezTo>
                  <a:pt x="8292091" y="30093"/>
                  <a:pt x="7997656" y="18914"/>
                  <a:pt x="7787693" y="18288"/>
                </a:cubicBezTo>
                <a:cubicBezTo>
                  <a:pt x="7577730" y="17662"/>
                  <a:pt x="7412468" y="21416"/>
                  <a:pt x="7217862" y="18288"/>
                </a:cubicBezTo>
                <a:cubicBezTo>
                  <a:pt x="7023256" y="15160"/>
                  <a:pt x="6898018" y="14824"/>
                  <a:pt x="6648031" y="18288"/>
                </a:cubicBezTo>
                <a:cubicBezTo>
                  <a:pt x="6398044" y="21752"/>
                  <a:pt x="6254402" y="38625"/>
                  <a:pt x="6078200" y="18288"/>
                </a:cubicBezTo>
                <a:cubicBezTo>
                  <a:pt x="5901998" y="-2049"/>
                  <a:pt x="5622886" y="3213"/>
                  <a:pt x="5508368" y="18288"/>
                </a:cubicBezTo>
                <a:cubicBezTo>
                  <a:pt x="5393850" y="33363"/>
                  <a:pt x="5036260" y="26830"/>
                  <a:pt x="4721459" y="18288"/>
                </a:cubicBezTo>
                <a:cubicBezTo>
                  <a:pt x="4406658" y="9746"/>
                  <a:pt x="4239221" y="41551"/>
                  <a:pt x="4043088" y="18288"/>
                </a:cubicBezTo>
                <a:cubicBezTo>
                  <a:pt x="3846955" y="-4975"/>
                  <a:pt x="3818802" y="34658"/>
                  <a:pt x="3690336" y="18288"/>
                </a:cubicBezTo>
                <a:cubicBezTo>
                  <a:pt x="3561870" y="1918"/>
                  <a:pt x="3265491" y="42194"/>
                  <a:pt x="3120504" y="18288"/>
                </a:cubicBezTo>
                <a:cubicBezTo>
                  <a:pt x="2975517" y="-5618"/>
                  <a:pt x="2720254" y="36673"/>
                  <a:pt x="2333595" y="18288"/>
                </a:cubicBezTo>
                <a:cubicBezTo>
                  <a:pt x="1946936" y="-97"/>
                  <a:pt x="2097241" y="5776"/>
                  <a:pt x="1872303" y="18288"/>
                </a:cubicBezTo>
                <a:cubicBezTo>
                  <a:pt x="1647365" y="30800"/>
                  <a:pt x="1282708" y="45380"/>
                  <a:pt x="976854" y="18288"/>
                </a:cubicBezTo>
                <a:cubicBezTo>
                  <a:pt x="671000" y="-8804"/>
                  <a:pt x="408401" y="-12775"/>
                  <a:pt x="0" y="18288"/>
                </a:cubicBezTo>
                <a:cubicBezTo>
                  <a:pt x="-213" y="9468"/>
                  <a:pt x="187" y="4459"/>
                  <a:pt x="0" y="0"/>
                </a:cubicBezTo>
                <a:close/>
              </a:path>
              <a:path w="10853928" h="18288" stroke="0" extrusionOk="0">
                <a:moveTo>
                  <a:pt x="0" y="0"/>
                </a:moveTo>
                <a:cubicBezTo>
                  <a:pt x="267322" y="15284"/>
                  <a:pt x="415388" y="-21048"/>
                  <a:pt x="569831" y="0"/>
                </a:cubicBezTo>
                <a:cubicBezTo>
                  <a:pt x="724274" y="21048"/>
                  <a:pt x="769333" y="-2353"/>
                  <a:pt x="922584" y="0"/>
                </a:cubicBezTo>
                <a:cubicBezTo>
                  <a:pt x="1075835" y="2353"/>
                  <a:pt x="1399490" y="-145"/>
                  <a:pt x="1818033" y="0"/>
                </a:cubicBezTo>
                <a:cubicBezTo>
                  <a:pt x="2236576" y="145"/>
                  <a:pt x="2145330" y="5482"/>
                  <a:pt x="2387864" y="0"/>
                </a:cubicBezTo>
                <a:cubicBezTo>
                  <a:pt x="2630398" y="-5482"/>
                  <a:pt x="2793207" y="18487"/>
                  <a:pt x="2957695" y="0"/>
                </a:cubicBezTo>
                <a:cubicBezTo>
                  <a:pt x="3122183" y="-18487"/>
                  <a:pt x="3579141" y="19003"/>
                  <a:pt x="3853144" y="0"/>
                </a:cubicBezTo>
                <a:cubicBezTo>
                  <a:pt x="4127147" y="-19003"/>
                  <a:pt x="4209857" y="12211"/>
                  <a:pt x="4314436" y="0"/>
                </a:cubicBezTo>
                <a:cubicBezTo>
                  <a:pt x="4419015" y="-12211"/>
                  <a:pt x="4762459" y="-17220"/>
                  <a:pt x="5209885" y="0"/>
                </a:cubicBezTo>
                <a:cubicBezTo>
                  <a:pt x="5657311" y="17220"/>
                  <a:pt x="5692663" y="-3290"/>
                  <a:pt x="6105335" y="0"/>
                </a:cubicBezTo>
                <a:cubicBezTo>
                  <a:pt x="6518007" y="3290"/>
                  <a:pt x="6455516" y="-5124"/>
                  <a:pt x="6783705" y="0"/>
                </a:cubicBezTo>
                <a:cubicBezTo>
                  <a:pt x="7111894" y="5124"/>
                  <a:pt x="7441941" y="-17829"/>
                  <a:pt x="7679154" y="0"/>
                </a:cubicBezTo>
                <a:cubicBezTo>
                  <a:pt x="7916367" y="17829"/>
                  <a:pt x="8102967" y="-24363"/>
                  <a:pt x="8248985" y="0"/>
                </a:cubicBezTo>
                <a:cubicBezTo>
                  <a:pt x="8395003" y="24363"/>
                  <a:pt x="8552393" y="25505"/>
                  <a:pt x="8818817" y="0"/>
                </a:cubicBezTo>
                <a:cubicBezTo>
                  <a:pt x="9085241" y="-25505"/>
                  <a:pt x="9411308" y="38000"/>
                  <a:pt x="9605726" y="0"/>
                </a:cubicBezTo>
                <a:cubicBezTo>
                  <a:pt x="9800144" y="-38000"/>
                  <a:pt x="10006468" y="-25741"/>
                  <a:pt x="10175558" y="0"/>
                </a:cubicBezTo>
                <a:cubicBezTo>
                  <a:pt x="10344648" y="25741"/>
                  <a:pt x="10696282" y="695"/>
                  <a:pt x="10853928" y="0"/>
                </a:cubicBezTo>
                <a:cubicBezTo>
                  <a:pt x="10853521" y="8690"/>
                  <a:pt x="10853774" y="14141"/>
                  <a:pt x="10853928" y="18288"/>
                </a:cubicBezTo>
                <a:cubicBezTo>
                  <a:pt x="10608124" y="24255"/>
                  <a:pt x="10343415" y="22307"/>
                  <a:pt x="10067018" y="18288"/>
                </a:cubicBezTo>
                <a:cubicBezTo>
                  <a:pt x="9790621" y="14270"/>
                  <a:pt x="9843266" y="3564"/>
                  <a:pt x="9714266" y="18288"/>
                </a:cubicBezTo>
                <a:cubicBezTo>
                  <a:pt x="9585266" y="33012"/>
                  <a:pt x="9379484" y="1875"/>
                  <a:pt x="9252974" y="18288"/>
                </a:cubicBezTo>
                <a:cubicBezTo>
                  <a:pt x="9126464" y="34701"/>
                  <a:pt x="8580678" y="-4904"/>
                  <a:pt x="8357525" y="18288"/>
                </a:cubicBezTo>
                <a:cubicBezTo>
                  <a:pt x="8134372" y="41480"/>
                  <a:pt x="7903199" y="26458"/>
                  <a:pt x="7679154" y="18288"/>
                </a:cubicBezTo>
                <a:cubicBezTo>
                  <a:pt x="7455109" y="10118"/>
                  <a:pt x="7435944" y="27109"/>
                  <a:pt x="7217862" y="18288"/>
                </a:cubicBezTo>
                <a:cubicBezTo>
                  <a:pt x="6999780" y="9467"/>
                  <a:pt x="6680409" y="18985"/>
                  <a:pt x="6539492" y="18288"/>
                </a:cubicBezTo>
                <a:cubicBezTo>
                  <a:pt x="6398575" y="17592"/>
                  <a:pt x="6312077" y="33018"/>
                  <a:pt x="6186739" y="18288"/>
                </a:cubicBezTo>
                <a:cubicBezTo>
                  <a:pt x="6061401" y="3558"/>
                  <a:pt x="5947033" y="12075"/>
                  <a:pt x="5833986" y="18288"/>
                </a:cubicBezTo>
                <a:cubicBezTo>
                  <a:pt x="5720939" y="24501"/>
                  <a:pt x="5482226" y="8586"/>
                  <a:pt x="5155616" y="18288"/>
                </a:cubicBezTo>
                <a:cubicBezTo>
                  <a:pt x="4829006" y="27991"/>
                  <a:pt x="4841274" y="29316"/>
                  <a:pt x="4694324" y="18288"/>
                </a:cubicBezTo>
                <a:cubicBezTo>
                  <a:pt x="4547374" y="7260"/>
                  <a:pt x="4077675" y="7013"/>
                  <a:pt x="3907414" y="18288"/>
                </a:cubicBezTo>
                <a:cubicBezTo>
                  <a:pt x="3737153" y="29564"/>
                  <a:pt x="3538393" y="21630"/>
                  <a:pt x="3446122" y="18288"/>
                </a:cubicBezTo>
                <a:cubicBezTo>
                  <a:pt x="3353851" y="14946"/>
                  <a:pt x="2990320" y="-8091"/>
                  <a:pt x="2659212" y="18288"/>
                </a:cubicBezTo>
                <a:cubicBezTo>
                  <a:pt x="2328104" y="44667"/>
                  <a:pt x="2427653" y="9607"/>
                  <a:pt x="2306460" y="18288"/>
                </a:cubicBezTo>
                <a:cubicBezTo>
                  <a:pt x="2185267" y="26969"/>
                  <a:pt x="1719763" y="3717"/>
                  <a:pt x="1519550" y="18288"/>
                </a:cubicBezTo>
                <a:cubicBezTo>
                  <a:pt x="1319337" y="32860"/>
                  <a:pt x="1167371" y="17040"/>
                  <a:pt x="1058258" y="18288"/>
                </a:cubicBezTo>
                <a:cubicBezTo>
                  <a:pt x="949145" y="19536"/>
                  <a:pt x="780234" y="31447"/>
                  <a:pt x="705505" y="18288"/>
                </a:cubicBezTo>
                <a:cubicBezTo>
                  <a:pt x="630776" y="5129"/>
                  <a:pt x="215796" y="30056"/>
                  <a:pt x="0" y="18288"/>
                </a:cubicBezTo>
                <a:cubicBezTo>
                  <a:pt x="-53" y="11301"/>
                  <a:pt x="-649" y="7756"/>
                  <a:pt x="0" y="0"/>
                </a:cubicBezTo>
                <a:close/>
              </a:path>
            </a:pathLst>
          </a:custGeom>
          <a:solidFill>
            <a:schemeClr val="accent2"/>
          </a:solidFill>
          <a:ln w="41275" cap="rnd">
            <a:solidFill>
              <a:schemeClr val="accent2"/>
            </a:solidFill>
            <a:round/>
            <a:extLst>
              <a:ext uri="{C807C97D-BFC1-408E-A445-0C87EB9F89A2}">
                <ask:lineSketchStyleProps xmlns:ask="http://schemas.microsoft.com/office/drawing/2018/sketchyshapes" sd="1219033472">
                  <a:prstGeom prst="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9FA71A85-160A-4CFF-9241-BA71D421B86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929384"/>
            <a:ext cx="10515600" cy="4633622"/>
          </a:xfrm>
        </p:spPr>
        <p:txBody>
          <a:bodyPr>
            <a:normAutofit fontScale="70000" lnSpcReduction="20000"/>
          </a:bodyPr>
          <a:lstStyle/>
          <a:p>
            <a:pPr marL="0" indent="0">
              <a:buNone/>
            </a:pPr>
            <a:r>
              <a:rPr lang="fr-FR" sz="15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 </a:t>
            </a:r>
          </a:p>
          <a:p>
            <a:pPr algn="just"/>
            <a:r>
              <a:rPr lang="fr-FR" sz="1800" b="1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Ex 1)</a:t>
            </a:r>
            <a:r>
              <a:rPr lang="fr-FR" sz="18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L’entreprise achète, en réglant par chèque, pour 100 000 € de marchandises.</a:t>
            </a:r>
          </a:p>
          <a:p>
            <a:pPr marL="723900" algn="just"/>
            <a:r>
              <a:rPr lang="fr-FR" sz="18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=&gt; 512 Banque</a:t>
            </a:r>
          </a:p>
          <a:p>
            <a:pPr marL="723900" algn="just"/>
            <a:r>
              <a:rPr lang="fr-FR" sz="18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=&gt; 607 Achats de marchandises</a:t>
            </a:r>
          </a:p>
          <a:p>
            <a:pPr algn="just"/>
            <a:r>
              <a:rPr lang="fr-FR" sz="18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 </a:t>
            </a:r>
          </a:p>
          <a:p>
            <a:pPr algn="just"/>
            <a:r>
              <a:rPr lang="fr-FR" sz="1800" b="1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Ex 2)</a:t>
            </a:r>
            <a:r>
              <a:rPr lang="fr-FR" sz="18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L’entreprise achète, à crédit, pour 200 000 € de matières premières.</a:t>
            </a:r>
          </a:p>
          <a:p>
            <a:pPr marL="723900" algn="just"/>
            <a:r>
              <a:rPr lang="fr-FR" sz="18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=&gt; 601 Achat de matières 1</a:t>
            </a:r>
            <a:r>
              <a:rPr lang="fr-FR" sz="1800" baseline="300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ères</a:t>
            </a:r>
            <a:r>
              <a:rPr lang="fr-FR" sz="18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</a:p>
          <a:p>
            <a:pPr marL="723900" algn="just"/>
            <a:r>
              <a:rPr lang="fr-FR" sz="18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=&gt; 401 Fournisseurs</a:t>
            </a:r>
          </a:p>
          <a:p>
            <a:pPr algn="just"/>
            <a:r>
              <a:rPr lang="fr-FR" sz="18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 </a:t>
            </a:r>
          </a:p>
          <a:p>
            <a:pPr algn="just"/>
            <a:r>
              <a:rPr lang="fr-FR" sz="1800" b="1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Ex 3)</a:t>
            </a:r>
            <a:r>
              <a:rPr lang="fr-FR" sz="18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L’entreprise perçoit 500 € d'intérêts suite à un placement effectué dans une banque.</a:t>
            </a:r>
          </a:p>
          <a:p>
            <a:pPr marL="723900" algn="just"/>
            <a:r>
              <a:rPr lang="fr-FR" sz="18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=&gt; 512 Banque</a:t>
            </a:r>
          </a:p>
          <a:p>
            <a:pPr marL="723900" algn="just"/>
            <a:r>
              <a:rPr lang="fr-FR" sz="18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=&gt; 76 Produits financiers</a:t>
            </a:r>
          </a:p>
          <a:p>
            <a:pPr algn="just"/>
            <a:r>
              <a:rPr lang="fr-FR" sz="18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 </a:t>
            </a:r>
          </a:p>
          <a:p>
            <a:pPr algn="just"/>
            <a:r>
              <a:rPr lang="fr-FR" sz="1800" b="1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Ex 4)</a:t>
            </a:r>
            <a:r>
              <a:rPr lang="fr-FR" sz="18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L’entreprise vend des produits finis, à crédit, pour 500 000 €.</a:t>
            </a:r>
          </a:p>
          <a:p>
            <a:pPr marL="723900" algn="just"/>
            <a:r>
              <a:rPr lang="fr-FR" sz="18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=&gt; 701 Vente de produits finis</a:t>
            </a:r>
          </a:p>
          <a:p>
            <a:pPr marL="723900" algn="just"/>
            <a:r>
              <a:rPr lang="fr-FR" sz="18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=&gt; 411 Clients</a:t>
            </a:r>
          </a:p>
          <a:p>
            <a:pPr algn="just"/>
            <a:r>
              <a:rPr lang="fr-FR" sz="18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 </a:t>
            </a:r>
          </a:p>
          <a:p>
            <a:endParaRPr lang="fr-FR" sz="1500" dirty="0"/>
          </a:p>
        </p:txBody>
      </p:sp>
    </p:spTree>
    <p:extLst>
      <p:ext uri="{BB962C8B-B14F-4D97-AF65-F5344CB8AC3E}">
        <p14:creationId xmlns:p14="http://schemas.microsoft.com/office/powerpoint/2010/main" val="127250543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heme/theme1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2_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190</TotalTime>
  <Words>3078</Words>
  <Application>Microsoft Office PowerPoint</Application>
  <PresentationFormat>Grand écran</PresentationFormat>
  <Paragraphs>629</Paragraphs>
  <Slides>42</Slides>
  <Notes>6</Notes>
  <HiddenSlides>0</HiddenSlides>
  <MMClips>0</MMClips>
  <ScaleCrop>false</ScaleCrop>
  <HeadingPairs>
    <vt:vector size="6" baseType="variant">
      <vt:variant>
        <vt:lpstr>Polices utilisées</vt:lpstr>
      </vt:variant>
      <vt:variant>
        <vt:i4>6</vt:i4>
      </vt:variant>
      <vt:variant>
        <vt:lpstr>Thème</vt:lpstr>
      </vt:variant>
      <vt:variant>
        <vt:i4>3</vt:i4>
      </vt:variant>
      <vt:variant>
        <vt:lpstr>Titres des diapositives</vt:lpstr>
      </vt:variant>
      <vt:variant>
        <vt:i4>42</vt:i4>
      </vt:variant>
    </vt:vector>
  </HeadingPairs>
  <TitlesOfParts>
    <vt:vector size="51" baseType="lpstr">
      <vt:lpstr>Arial</vt:lpstr>
      <vt:lpstr>Calibri</vt:lpstr>
      <vt:lpstr>Calibri Light</vt:lpstr>
      <vt:lpstr>Times New Roman</vt:lpstr>
      <vt:lpstr>Tw Cen MT</vt:lpstr>
      <vt:lpstr>Verdana</vt:lpstr>
      <vt:lpstr>Thème Office</vt:lpstr>
      <vt:lpstr>1_Thème Office</vt:lpstr>
      <vt:lpstr>2_Thème Office</vt:lpstr>
      <vt:lpstr>Université de Montpellier </vt:lpstr>
      <vt:lpstr>Programme prévisionnel</vt:lpstr>
      <vt:lpstr> </vt:lpstr>
      <vt:lpstr>Comptabilisation - principes</vt:lpstr>
      <vt:lpstr>Comptabilisation - principes</vt:lpstr>
      <vt:lpstr>Comptabilisation - principes</vt:lpstr>
      <vt:lpstr>Comptabilisation - Vocabulaire</vt:lpstr>
      <vt:lpstr>Comptabilisation – Exemple - CAS UP1</vt:lpstr>
      <vt:lpstr>Comptabilisation – Correction UP1</vt:lpstr>
      <vt:lpstr>Comptabilisation – cas UP1 (suite) </vt:lpstr>
      <vt:lpstr>Comptabilisation – Correction UP1 (suite)</vt:lpstr>
      <vt:lpstr>Comptabilisation – oui mais comment ?</vt:lpstr>
      <vt:lpstr>Comptabilisation – oui mais comment ?</vt:lpstr>
      <vt:lpstr>Comptabilisation – oui mais comment ?</vt:lpstr>
      <vt:lpstr>Comptabilisation - Méthode</vt:lpstr>
      <vt:lpstr>Comptabilisation - Méthode</vt:lpstr>
      <vt:lpstr>Comptabilisation – Cas UP 2</vt:lpstr>
      <vt:lpstr>Comptabilisation – Correction UP2 </vt:lpstr>
      <vt:lpstr>Comptabilisation – Cas UP2 suite</vt:lpstr>
      <vt:lpstr>Comptabilisation – Correction UP2 (suite) </vt:lpstr>
      <vt:lpstr>Comptabilisation – Méthodes </vt:lpstr>
      <vt:lpstr>Méthode 1 : Compte en T</vt:lpstr>
      <vt:lpstr>Comptabilisation – Méthode 1 </vt:lpstr>
      <vt:lpstr>Comptabilisation – Méthode </vt:lpstr>
      <vt:lpstr>Comptabilisation – Méthode </vt:lpstr>
      <vt:lpstr>Comptabilisation – Méthode </vt:lpstr>
      <vt:lpstr>Méthode 2 : Le journal chrono =&gt; Notre méthode</vt:lpstr>
      <vt:lpstr>Comptabilisation  –  Méthode 2</vt:lpstr>
      <vt:lpstr>Méthode 3 : Les journaux =&gt; Méthode appliquée dans la pratique</vt:lpstr>
      <vt:lpstr>Présentation PowerPoint</vt:lpstr>
      <vt:lpstr>Présentation PowerPoint</vt:lpstr>
      <vt:lpstr> </vt:lpstr>
      <vt:lpstr>Exerçons nous – Cas COUNT 1</vt:lpstr>
      <vt:lpstr>Exerçons nous – Cas COUNT 1</vt:lpstr>
      <vt:lpstr>Exerçons nous – Cas COUNT 1</vt:lpstr>
      <vt:lpstr>Présentation PowerPoint</vt:lpstr>
      <vt:lpstr> </vt:lpstr>
      <vt:lpstr> </vt:lpstr>
      <vt:lpstr>Présentation PowerPoint</vt:lpstr>
      <vt:lpstr>Présentation PowerPoint</vt:lpstr>
      <vt:lpstr>Principe TVA</vt:lpstr>
      <vt:lpstr>Merci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ormation Février 2021 ATHENA SECURITE</dc:title>
  <dc:creator>christophe CHUECOS-FONT</dc:creator>
  <cp:lastModifiedBy>christophe CHUECOS-FONT</cp:lastModifiedBy>
  <cp:revision>4</cp:revision>
  <dcterms:created xsi:type="dcterms:W3CDTF">2021-02-02T18:32:53Z</dcterms:created>
  <dcterms:modified xsi:type="dcterms:W3CDTF">2021-03-26T12:12:55Z</dcterms:modified>
</cp:coreProperties>
</file>